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08" r:id="rId3"/>
    <p:sldMasterId id="2147483731" r:id="rId4"/>
    <p:sldMasterId id="2147483754" r:id="rId5"/>
    <p:sldMasterId id="2147483776" r:id="rId6"/>
    <p:sldMasterId id="2147483796" r:id="rId7"/>
  </p:sldMasterIdLst>
  <p:notesMasterIdLst>
    <p:notesMasterId r:id="rId9"/>
  </p:notesMasterIdLst>
  <p:handoutMasterIdLst>
    <p:handoutMasterId r:id="rId10"/>
  </p:handoutMasterIdLst>
  <p:sldIdLst>
    <p:sldId id="1802" r:id="rId8"/>
  </p:sldIdLst>
  <p:sldSz cx="12192000" cy="6858000"/>
  <p:notesSz cx="6888163" cy="100218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70" autoAdjust="0"/>
    <p:restoredTop sz="93265" autoAdjust="0"/>
  </p:normalViewPr>
  <p:slideViewPr>
    <p:cSldViewPr snapToGrid="0">
      <p:cViewPr>
        <p:scale>
          <a:sx n="70" d="100"/>
          <a:sy n="70" d="100"/>
        </p:scale>
        <p:origin x="380" y="4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>
      <p:cViewPr varScale="1">
        <p:scale>
          <a:sx n="59" d="100"/>
          <a:sy n="59" d="100"/>
        </p:scale>
        <p:origin x="2524" y="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EC97AA2-0622-4EF3-9353-2ED3B3FE1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A41568-9D23-48A6-B227-631B538157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2075" y="0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47B45F-AE21-47B0-ABC3-66DE50F2BB2D}" type="datetimeFigureOut">
              <a:rPr lang="en-GB" smtClean="0"/>
              <a:t>25/09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CA4A91-AA9D-4A65-94A0-0640AEC3F3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520238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0061E4-31BE-41D8-82D3-6C3C1CF7BBB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2075" y="9520238"/>
            <a:ext cx="2984500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14507B-59D5-455D-AC1D-F40419AABCB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56278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871" cy="502835"/>
          </a:xfrm>
          <a:prstGeom prst="rect">
            <a:avLst/>
          </a:prstGeom>
        </p:spPr>
        <p:txBody>
          <a:bodyPr vert="horz" lIns="96625" tIns="48312" rIns="96625" bIns="48312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698" y="0"/>
            <a:ext cx="2984871" cy="502835"/>
          </a:xfrm>
          <a:prstGeom prst="rect">
            <a:avLst/>
          </a:prstGeom>
        </p:spPr>
        <p:txBody>
          <a:bodyPr vert="horz" lIns="96625" tIns="48312" rIns="96625" bIns="48312" rtlCol="0"/>
          <a:lstStyle>
            <a:lvl1pPr algn="r">
              <a:defRPr sz="1300"/>
            </a:lvl1pPr>
          </a:lstStyle>
          <a:p>
            <a:fld id="{0924771B-94D6-4E60-80BE-F5FD1A514C1B}" type="datetimeFigureOut">
              <a:rPr lang="en-GB" smtClean="0"/>
              <a:t>24/09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52538"/>
            <a:ext cx="6011863" cy="33829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25" tIns="48312" rIns="96625" bIns="4831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3034"/>
            <a:ext cx="5510530" cy="3946118"/>
          </a:xfrm>
          <a:prstGeom prst="rect">
            <a:avLst/>
          </a:prstGeom>
        </p:spPr>
        <p:txBody>
          <a:bodyPr vert="horz" lIns="96625" tIns="48312" rIns="96625" bIns="4831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9055"/>
            <a:ext cx="2984871" cy="502834"/>
          </a:xfrm>
          <a:prstGeom prst="rect">
            <a:avLst/>
          </a:prstGeom>
        </p:spPr>
        <p:txBody>
          <a:bodyPr vert="horz" lIns="96625" tIns="48312" rIns="96625" bIns="48312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698" y="9519055"/>
            <a:ext cx="2984871" cy="502834"/>
          </a:xfrm>
          <a:prstGeom prst="rect">
            <a:avLst/>
          </a:prstGeom>
        </p:spPr>
        <p:txBody>
          <a:bodyPr vert="horz" lIns="96625" tIns="48312" rIns="96625" bIns="48312" rtlCol="0" anchor="b"/>
          <a:lstStyle>
            <a:lvl1pPr algn="r">
              <a:defRPr sz="1300"/>
            </a:lvl1pPr>
          </a:lstStyle>
          <a:p>
            <a:fld id="{5AAF4782-F134-4760-85FE-37CC746982F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467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200025" y="825500"/>
            <a:ext cx="7319963" cy="4117975"/>
          </a:xfrm>
          <a:ln/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 dirty="0"/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9602">
              <a:defRPr sz="1300" b="1">
                <a:solidFill>
                  <a:schemeClr val="tx1"/>
                </a:solidFill>
                <a:latin typeface="Arial" charset="0"/>
              </a:defRPr>
            </a:lvl1pPr>
            <a:lvl2pPr marL="785075" indent="-301952" defTabSz="969602">
              <a:defRPr sz="1300">
                <a:solidFill>
                  <a:schemeClr val="tx1"/>
                </a:solidFill>
                <a:latin typeface="Arial" charset="0"/>
              </a:defRPr>
            </a:lvl2pPr>
            <a:lvl3pPr marL="1207808" indent="-241562" defTabSz="969602">
              <a:defRPr sz="1300">
                <a:solidFill>
                  <a:schemeClr val="tx1"/>
                </a:solidFill>
                <a:latin typeface="Arial" charset="0"/>
              </a:defRPr>
            </a:lvl3pPr>
            <a:lvl4pPr marL="1690931" indent="-241562" defTabSz="969602">
              <a:defRPr sz="1300">
                <a:solidFill>
                  <a:schemeClr val="tx1"/>
                </a:solidFill>
                <a:latin typeface="Arial" charset="0"/>
              </a:defRPr>
            </a:lvl4pPr>
            <a:lvl5pPr marL="2174055" indent="-241562" defTabSz="969602">
              <a:defRPr sz="1300">
                <a:solidFill>
                  <a:schemeClr val="tx1"/>
                </a:solidFill>
                <a:latin typeface="Arial" charset="0"/>
              </a:defRPr>
            </a:lvl5pPr>
            <a:lvl6pPr marL="2657178" indent="-241562" defTabSz="969602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6pPr>
            <a:lvl7pPr marL="3140301" indent="-241562" defTabSz="969602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7pPr>
            <a:lvl8pPr marL="3623424" indent="-241562" defTabSz="969602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8pPr>
            <a:lvl9pPr marL="4106548" indent="-241562" defTabSz="969602" eaLnBrk="0" fontAlgn="base" hangingPunct="0">
              <a:spcBef>
                <a:spcPct val="3000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C4332216-D08E-4C97-A4DE-6D08067AAB1C}" type="slidenum">
              <a:rPr lang="en-US" altLang="en-US" b="0" smtClean="0"/>
              <a:pPr/>
              <a:t>1</a:t>
            </a:fld>
            <a:endParaRPr lang="en-US" altLang="en-US" b="0"/>
          </a:p>
        </p:txBody>
      </p:sp>
    </p:spTree>
    <p:extLst>
      <p:ext uri="{BB962C8B-B14F-4D97-AF65-F5344CB8AC3E}">
        <p14:creationId xmlns:p14="http://schemas.microsoft.com/office/powerpoint/2010/main" val="13069994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1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219200" y="2057400"/>
            <a:ext cx="9753600" cy="1143000"/>
          </a:xfr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8915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fld id="{13B9B73C-3867-304D-ABA3-D6FEE1C2514C}" type="slidenum">
              <a:rPr lang="en-US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BB3BB6-FBF7-4357-A00E-B42F443E74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44E6FD1A-D896-46C9-A2D0-AAFAA02E3507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17" name="Text Box 10"/>
          <p:cNvSpPr txBox="1">
            <a:spLocks noChangeArrowheads="1"/>
          </p:cNvSpPr>
          <p:nvPr userDrawn="1"/>
        </p:nvSpPr>
        <p:spPr bwMode="auto">
          <a:xfrm>
            <a:off x="1117600" y="6575704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dirty="0" err="1">
                <a:solidFill>
                  <a:schemeClr val="bg1"/>
                </a:solidFill>
                <a:latin typeface="Tahoma"/>
                <a:ea typeface="+mn-ea"/>
                <a:cs typeface="Tahoma"/>
              </a:rPr>
              <a:t>www.leanuk.org</a:t>
            </a:r>
            <a:endParaRPr lang="en-GB" sz="1600" dirty="0">
              <a:solidFill>
                <a:schemeClr val="bg1"/>
              </a:solidFill>
              <a:latin typeface="Tahoma"/>
              <a:ea typeface="+mn-ea"/>
              <a:cs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156569954"/>
      </p:ext>
    </p:extLst>
  </p:cSld>
  <p:clrMapOvr>
    <a:masterClrMapping/>
  </p:clrMapOvr>
  <p:transition spd="med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19488" indent="0">
              <a:buNone/>
              <a:defRPr sz="3200"/>
            </a:lvl2pPr>
            <a:lvl3pPr marL="1038977" indent="0">
              <a:buNone/>
              <a:defRPr sz="2667"/>
            </a:lvl3pPr>
            <a:lvl4pPr marL="1558465" indent="0">
              <a:buNone/>
              <a:defRPr sz="2267"/>
            </a:lvl4pPr>
            <a:lvl5pPr marL="2077952" indent="0">
              <a:buNone/>
              <a:defRPr sz="2267"/>
            </a:lvl5pPr>
            <a:lvl6pPr marL="2597440" indent="0">
              <a:buNone/>
              <a:defRPr sz="2267"/>
            </a:lvl6pPr>
            <a:lvl7pPr marL="3116929" indent="0">
              <a:buNone/>
              <a:defRPr sz="2267"/>
            </a:lvl7pPr>
            <a:lvl8pPr marL="3636417" indent="0">
              <a:buNone/>
              <a:defRPr sz="2267"/>
            </a:lvl8pPr>
            <a:lvl9pPr marL="4155905" indent="0">
              <a:buNone/>
              <a:defRPr sz="2267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FCE50D-FBB8-7243-BB86-E63354E10F9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887C22-A30D-429A-B959-C79D5B990C60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39083C0-308A-42FB-8147-E6EEC9D699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274760"/>
      </p:ext>
    </p:extLst>
  </p:cSld>
  <p:clrMapOvr>
    <a:masterClrMapping/>
  </p:clrMapOvr>
  <p:transition spd="med">
    <p:zoom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07169" indent="-207169">
              <a:buFont typeface="Arial" panose="020B0604020202020204" pitchFamily="34" charset="0"/>
              <a:buChar char="•"/>
              <a:defRPr/>
            </a:lvl1pPr>
            <a:lvl2pPr marL="496491" indent="-165497">
              <a:buFont typeface="Wingdings" panose="05000000000000000000" pitchFamily="2" charset="2"/>
              <a:buChar char="§"/>
              <a:defRPr/>
            </a:lvl2pPr>
            <a:lvl3pPr marL="829866" indent="-167879">
              <a:buFont typeface="Courier New" panose="02070309020205020404" pitchFamily="49" charset="0"/>
              <a:buChar char="o"/>
              <a:defRPr/>
            </a:lvl3pPr>
            <a:lvl4pPr marL="1119188" indent="-123825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18852" y="6618288"/>
            <a:ext cx="912283" cy="222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F351BA-EE77-4448-9419-8CED47EBDD98}" type="slidenum">
              <a:rPr lang="en-US" sz="1350">
                <a:solidFill>
                  <a:srgbClr val="474747"/>
                </a:solidFill>
              </a:rPr>
              <a:pPr>
                <a:defRPr/>
              </a:pPr>
              <a:t>‹#›</a:t>
            </a:fld>
            <a:endParaRPr lang="en-US" sz="1350">
              <a:solidFill>
                <a:srgbClr val="474747"/>
              </a:solidFill>
            </a:endParaRPr>
          </a:p>
        </p:txBody>
      </p:sp>
      <p:sp>
        <p:nvSpPr>
          <p:cNvPr id="5" name="Rectangle 75"/>
          <p:cNvSpPr>
            <a:spLocks noGrp="1" noChangeArrowheads="1"/>
          </p:cNvSpPr>
          <p:nvPr>
            <p:ph type="dt" sz="half" idx="11"/>
          </p:nvPr>
        </p:nvSpPr>
        <p:spPr>
          <a:xfrm>
            <a:off x="5327651" y="6381750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sz="1350" dirty="0">
              <a:solidFill>
                <a:srgbClr val="474747"/>
              </a:solidFill>
            </a:endParaRPr>
          </a:p>
        </p:txBody>
      </p:sp>
      <p:sp>
        <p:nvSpPr>
          <p:cNvPr id="6" name="Rectangle 76"/>
          <p:cNvSpPr>
            <a:spLocks noGrp="1" noChangeArrowheads="1"/>
          </p:cNvSpPr>
          <p:nvPr>
            <p:ph type="ftr" sz="quarter" idx="12"/>
          </p:nvPr>
        </p:nvSpPr>
        <p:spPr>
          <a:xfrm>
            <a:off x="423336" y="6381750"/>
            <a:ext cx="4815417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z="1350" dirty="0">
                <a:solidFill>
                  <a:srgbClr val="474747"/>
                </a:solidFill>
              </a:rPr>
              <a:t>Delphi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96699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age 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980875"/>
            <a:ext cx="11328400" cy="225702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492068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" y="6497639"/>
            <a:ext cx="5376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88FFC76-23B0-41AB-B1B7-00789ED9709F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72707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10969246" cy="39624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81001"/>
            <a:ext cx="10969247" cy="9239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1227266" y="6356350"/>
            <a:ext cx="4114800" cy="27432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Leadership Update | October 11, 2018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>
          <a:xfrm>
            <a:off x="613284" y="6356350"/>
            <a:ext cx="548640" cy="274320"/>
          </a:xfrm>
          <a:prstGeom prst="rect">
            <a:avLst/>
          </a:prstGeom>
        </p:spPr>
        <p:txBody>
          <a:bodyPr/>
          <a:lstStyle/>
          <a:p>
            <a:fld id="{E257F6BE-B0F9-48EE-B604-3FA77DC8538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9117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 column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397247" y="1905000"/>
            <a:ext cx="5181600" cy="3657600"/>
          </a:xfrm>
        </p:spPr>
        <p:txBody>
          <a:bodyPr bIns="18288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5181600" cy="3657600"/>
          </a:xfrm>
        </p:spPr>
        <p:txBody>
          <a:bodyPr bIns="182880">
            <a:noAutofit/>
          </a:bodyPr>
          <a:lstStyle>
            <a:lvl7pPr>
              <a:defRPr baseline="0"/>
            </a:lvl7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81001"/>
            <a:ext cx="10969247" cy="9239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227266" y="6324599"/>
            <a:ext cx="3492500" cy="304801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DS Lean Deployment | Feb 19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613284" y="6324599"/>
            <a:ext cx="624550" cy="304802"/>
          </a:xfrm>
          <a:prstGeom prst="rect">
            <a:avLst/>
          </a:prstGeom>
        </p:spPr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/>
          </p:nvPr>
        </p:nvSpPr>
        <p:spPr>
          <a:xfrm>
            <a:off x="609600" y="5562600"/>
            <a:ext cx="10969625" cy="609600"/>
          </a:xfrm>
          <a:solidFill>
            <a:schemeClr val="tx2"/>
          </a:solidFill>
        </p:spPr>
        <p:txBody>
          <a:bodyPr lIns="182880" tIns="182880" rIns="182880" bIns="182880" anchor="ctr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391336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599" y="381001"/>
            <a:ext cx="10969247" cy="9239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227266" y="6324599"/>
            <a:ext cx="3492500" cy="304801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DS Lean Deployment | Feb 19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3284" y="6324599"/>
            <a:ext cx="624550" cy="304802"/>
          </a:xfrm>
          <a:prstGeom prst="rect">
            <a:avLst/>
          </a:prstGeom>
        </p:spPr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9349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791" y="-114300"/>
            <a:ext cx="11584411" cy="1109663"/>
          </a:xfrm>
          <a:prstGeom prst="rect">
            <a:avLst/>
          </a:prstGeom>
        </p:spPr>
        <p:txBody>
          <a:bodyPr/>
          <a:lstStyle>
            <a:lvl1pPr>
              <a:defRPr sz="270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00574" y="1733552"/>
            <a:ext cx="11586632" cy="4706958"/>
          </a:xfrm>
          <a:prstGeom prst="rect">
            <a:avLst/>
          </a:prstGeom>
        </p:spPr>
        <p:txBody>
          <a:bodyPr vert="horz" lIns="121710" tIns="60856" rIns="121710" bIns="60856" rtlCol="0">
            <a:noAutofit/>
          </a:bodyPr>
          <a:lstStyle>
            <a:lvl1pPr>
              <a:defRPr lang="en-US" sz="1806" dirty="0" smtClean="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lang="en-US" sz="1500" dirty="0" smtClean="0">
                <a:solidFill>
                  <a:schemeClr val="tx1"/>
                </a:solidFill>
              </a:defRPr>
            </a:lvl2pPr>
            <a:lvl3pPr>
              <a:defRPr lang="en-US" sz="1349" dirty="0" smtClean="0">
                <a:solidFill>
                  <a:schemeClr val="tx1"/>
                </a:solidFill>
              </a:defRPr>
            </a:lvl3pPr>
            <a:lvl4pPr>
              <a:defRPr lang="en-US" sz="1049" dirty="0" smtClean="0">
                <a:solidFill>
                  <a:schemeClr val="tx1"/>
                </a:solidFill>
              </a:defRPr>
            </a:lvl4pPr>
            <a:lvl5pPr>
              <a:defRPr lang="en-US" sz="1049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0574" y="1104900"/>
            <a:ext cx="11586632" cy="628650"/>
          </a:xfrm>
        </p:spPr>
        <p:txBody>
          <a:bodyPr/>
          <a:lstStyle>
            <a:lvl1pPr marL="0" indent="0">
              <a:lnSpc>
                <a:spcPts val="2196"/>
              </a:lnSpc>
              <a:spcBef>
                <a:spcPts val="0"/>
              </a:spcBef>
              <a:buNone/>
              <a:defRPr sz="1954">
                <a:solidFill>
                  <a:schemeClr val="accent2"/>
                </a:solidFill>
              </a:defRPr>
            </a:lvl1pPr>
            <a:lvl2pPr marL="456321" indent="0">
              <a:buNone/>
              <a:defRPr/>
            </a:lvl2pPr>
            <a:lvl3pPr marL="968095" indent="0">
              <a:buNone/>
              <a:defRPr/>
            </a:lvl3pPr>
            <a:lvl4pPr marL="1368957" indent="0">
              <a:buNone/>
              <a:defRPr/>
            </a:lvl4pPr>
            <a:lvl5pPr marL="1825278" indent="0"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296460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title, Content, and Image with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2790" y="-114300"/>
            <a:ext cx="11584411" cy="1109663"/>
          </a:xfrm>
          <a:prstGeom prst="rect">
            <a:avLst/>
          </a:prstGeom>
        </p:spPr>
        <p:txBody>
          <a:bodyPr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00571" y="1733553"/>
            <a:ext cx="7134300" cy="3736201"/>
          </a:xfrm>
          <a:prstGeom prst="rect">
            <a:avLst/>
          </a:prstGeom>
        </p:spPr>
        <p:txBody>
          <a:bodyPr vert="horz" lIns="121710" tIns="60856" rIns="121710" bIns="60856" rtlCol="0">
            <a:noAutofit/>
          </a:bodyPr>
          <a:lstStyle>
            <a:lvl1pPr>
              <a:defRPr lang="en-US" sz="2400" dirty="0" smtClean="0">
                <a:solidFill>
                  <a:schemeClr val="tx1"/>
                </a:solidFill>
              </a:defRPr>
            </a:lvl1pPr>
            <a:lvl2pPr>
              <a:spcAft>
                <a:spcPts val="797"/>
              </a:spcAft>
              <a:defRPr lang="en-US" sz="1995" dirty="0" smtClean="0">
                <a:solidFill>
                  <a:schemeClr val="tx1"/>
                </a:solidFill>
              </a:defRPr>
            </a:lvl2pPr>
            <a:lvl3pPr>
              <a:defRPr lang="en-US" sz="1795" dirty="0" smtClean="0">
                <a:solidFill>
                  <a:schemeClr val="tx1"/>
                </a:solidFill>
              </a:defRPr>
            </a:lvl3pPr>
            <a:lvl4pPr>
              <a:defRPr lang="en-US" sz="1396" dirty="0" smtClean="0">
                <a:solidFill>
                  <a:schemeClr val="tx1"/>
                </a:solidFill>
              </a:defRPr>
            </a:lvl4pPr>
            <a:lvl5pPr>
              <a:defRPr lang="en-US" sz="1396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0571" y="1104900"/>
            <a:ext cx="7134300" cy="628650"/>
          </a:xfrm>
        </p:spPr>
        <p:txBody>
          <a:bodyPr/>
          <a:lstStyle>
            <a:lvl1pPr marL="0" indent="0">
              <a:lnSpc>
                <a:spcPts val="2920"/>
              </a:lnSpc>
              <a:spcBef>
                <a:spcPts val="0"/>
              </a:spcBef>
              <a:buNone/>
              <a:defRPr sz="2599">
                <a:solidFill>
                  <a:schemeClr val="accent2"/>
                </a:solidFill>
              </a:defRPr>
            </a:lvl1pPr>
            <a:lvl2pPr marL="606844" indent="0">
              <a:buNone/>
              <a:defRPr/>
            </a:lvl2pPr>
            <a:lvl3pPr marL="1287432" indent="0">
              <a:buNone/>
              <a:defRPr/>
            </a:lvl3pPr>
            <a:lvl4pPr marL="1820524" indent="0">
              <a:buNone/>
              <a:defRPr/>
            </a:lvl4pPr>
            <a:lvl5pPr marL="2427367" indent="0"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462" y="5661302"/>
            <a:ext cx="11276247" cy="647550"/>
          </a:xfrm>
          <a:solidFill>
            <a:schemeClr val="tx2"/>
          </a:solidFill>
          <a:ln>
            <a:noFill/>
          </a:ln>
          <a:effectLst/>
        </p:spPr>
        <p:txBody>
          <a:bodyPr lIns="108000" tIns="36000" rIns="108000" bIns="72000" anchor="ctr"/>
          <a:lstStyle>
            <a:lvl1pPr marL="0" indent="0" algn="ctr">
              <a:buNone/>
              <a:defRPr sz="2400" b="1">
                <a:solidFill>
                  <a:srgbClr val="FFFFFF"/>
                </a:solidFill>
              </a:defRPr>
            </a:lvl1pPr>
            <a:lvl2pPr>
              <a:defRPr b="1">
                <a:solidFill>
                  <a:srgbClr val="FFFFFF"/>
                </a:solidFill>
              </a:defRPr>
            </a:lvl2pPr>
            <a:lvl3pPr>
              <a:defRPr b="1">
                <a:solidFill>
                  <a:srgbClr val="FFFFFF"/>
                </a:solidFill>
              </a:defRPr>
            </a:lvl3pPr>
            <a:lvl4pPr>
              <a:defRPr b="1">
                <a:solidFill>
                  <a:srgbClr val="FFFFFF"/>
                </a:solidFill>
              </a:defRPr>
            </a:lvl4pPr>
            <a:lvl5pPr>
              <a:defRPr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754484" y="6474164"/>
            <a:ext cx="9383301" cy="36504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B6D0CF"/>
                </a:solidFill>
              </a:rPr>
              <a:t>Delphi Confidential</a:t>
            </a:r>
            <a:endParaRPr lang="en-US" dirty="0">
              <a:solidFill>
                <a:srgbClr val="B6D0C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302793" y="6474163"/>
            <a:ext cx="538574" cy="365125"/>
          </a:xfrm>
          <a:prstGeom prst="rect">
            <a:avLst/>
          </a:prstGeom>
        </p:spPr>
        <p:txBody>
          <a:bodyPr/>
          <a:lstStyle/>
          <a:p>
            <a:pPr defTabSz="606961"/>
            <a:fld id="{A43139FB-0DEB-4527-9CBA-1C326F5D9B41}" type="slidenum">
              <a:rPr lang="en-US" smtClean="0">
                <a:solidFill>
                  <a:srgbClr val="000000"/>
                </a:solidFill>
              </a:rPr>
              <a:pPr defTabSz="60696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796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01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0075"/>
            <a:ext cx="10972800" cy="6873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97051"/>
            <a:ext cx="5384800" cy="4333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797050"/>
            <a:ext cx="5384800" cy="2090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4040189"/>
            <a:ext cx="5384800" cy="2090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21218" y="6456364"/>
            <a:ext cx="842433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F65EFE0-960C-4DBC-9CFC-75DEAD4E80D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15204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555626"/>
            <a:ext cx="11379200" cy="64135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1800" y="1835149"/>
            <a:ext cx="11379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C95398-6C22-4252-9545-2BB041ED9BC1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4A027B9-C2CF-48FB-B00B-F8D13DCE17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410160"/>
      </p:ext>
    </p:extLst>
  </p:cSld>
  <p:clrMapOvr>
    <a:masterClrMapping/>
  </p:clrMapOvr>
  <p:transition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921934" y="12144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3600" b="1">
              <a:solidFill>
                <a:srgbClr val="970000"/>
              </a:solidFill>
              <a:cs typeface="Arial" charset="0"/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4994601" y="4995863"/>
            <a:ext cx="2240898" cy="925782"/>
          </a:xfrm>
          <a:prstGeom prst="rect">
            <a:avLst/>
          </a:prstGeom>
          <a:noFill/>
          <a:ln w="28575" algn="ctr">
            <a:noFill/>
            <a:miter lim="800000"/>
            <a:headEnd type="none" w="sm" len="sm"/>
            <a:tailEnd type="none" w="lg" len="lg"/>
          </a:ln>
          <a:effectLst/>
        </p:spPr>
        <p:txBody>
          <a:bodyPr wrap="none" lIns="103900" tIns="51951" rIns="103900" bIns="5195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8" charset="2"/>
              <a:buNone/>
            </a:pPr>
            <a: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Darren </a:t>
            </a:r>
            <a:r>
              <a:rPr lang="en-US" sz="2667" dirty="0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Walsh</a:t>
            </a:r>
            <a:b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</a:br>
            <a: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2016</a:t>
            </a:r>
            <a:endParaRPr lang="en-US" sz="2667" dirty="0">
              <a:solidFill>
                <a:srgbClr val="800000"/>
              </a:solidFill>
              <a:latin typeface="Tahoma" pitchFamily="8" charset="0"/>
              <a:ea typeface="Tahoma" pitchFamily="8" charset="0"/>
              <a:cs typeface="Tahoma" pitchFamily="8" charset="0"/>
            </a:endParaRPr>
          </a:p>
        </p:txBody>
      </p:sp>
      <p:sp>
        <p:nvSpPr>
          <p:cNvPr id="6891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219200" y="2057400"/>
            <a:ext cx="9753600" cy="1143000"/>
          </a:xfr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8915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fld id="{13B9B73C-3867-304D-ABA3-D6FEE1C2514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 Box 10"/>
          <p:cNvSpPr txBox="1">
            <a:spLocks noChangeArrowheads="1"/>
          </p:cNvSpPr>
          <p:nvPr userDrawn="1"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 err="1">
                <a:solidFill>
                  <a:srgbClr val="FFFFFF"/>
                </a:solidFill>
                <a:latin typeface="Tahoma"/>
                <a:cs typeface="Tahoma"/>
              </a:rPr>
              <a:t>www.leanuk.org</a:t>
            </a:r>
            <a:endParaRPr lang="en-GB" sz="1600" b="1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643049"/>
      </p:ext>
    </p:extLst>
  </p:cSld>
  <p:clrMapOvr>
    <a:masterClrMapping/>
  </p:clrMapOvr>
  <p:transition spd="med">
    <p:zo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C57AA1-02A0-9F43-9822-62D2ECF37AD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582971"/>
      </p:ext>
    </p:extLst>
  </p:cSld>
  <p:clrMapOvr>
    <a:masterClrMapping/>
  </p:clrMapOvr>
  <p:transition spd="med">
    <p:zo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1848933"/>
            <a:ext cx="10363200" cy="1362075"/>
          </a:xfrm>
        </p:spPr>
        <p:txBody>
          <a:bodyPr/>
          <a:lstStyle>
            <a:lvl1pPr algn="ctr">
              <a:defRPr sz="4133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16616"/>
            <a:ext cx="1117600" cy="339725"/>
          </a:xfrm>
          <a:ln/>
        </p:spPr>
        <p:txBody>
          <a:bodyPr/>
          <a:lstStyle>
            <a:lvl1pPr>
              <a:defRPr/>
            </a:lvl1pPr>
          </a:lstStyle>
          <a:p>
            <a:fld id="{36DF0846-C13C-2343-9EC6-CDDE83EBDC8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417438"/>
      </p:ext>
    </p:extLst>
  </p:cSld>
  <p:clrMapOvr>
    <a:masterClrMapping/>
  </p:clrMapOvr>
  <p:transition spd="med">
    <p:zoom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6927" y="1360713"/>
            <a:ext cx="5458991" cy="5092475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997" y="1360713"/>
            <a:ext cx="5458991" cy="50924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52C64F-697D-7041-B90B-50904C326C8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434219"/>
      </p:ext>
    </p:extLst>
  </p:cSld>
  <p:clrMapOvr>
    <a:masterClrMapping/>
  </p:clrMapOvr>
  <p:transition spd="med">
    <p:zoom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E68D59-9A91-3F4F-9075-DA36E169F298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476663"/>
      </p:ext>
    </p:extLst>
  </p:cSld>
  <p:clrMapOvr>
    <a:masterClrMapping/>
  </p:clrMapOvr>
  <p:transition spd="med">
    <p:zoom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27D89B-2B4D-5E40-9B6E-0EF488D49D3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253602"/>
      </p:ext>
    </p:extLst>
  </p:cSld>
  <p:clrMapOvr>
    <a:masterClrMapping/>
  </p:clrMapOvr>
  <p:transition spd="med">
    <p:zoom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42163"/>
      </p:ext>
    </p:extLst>
  </p:cSld>
  <p:clrMapOvr>
    <a:masterClrMapping/>
  </p:clrMapOvr>
  <p:transition spd="med">
    <p:zoom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23366" y="725674"/>
            <a:ext cx="2679356" cy="1647887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4" name="Rounded Rectangular Callout 3"/>
          <p:cNvSpPr/>
          <p:nvPr userDrawn="1"/>
        </p:nvSpPr>
        <p:spPr bwMode="auto">
          <a:xfrm>
            <a:off x="4930761" y="771030"/>
            <a:ext cx="2493289" cy="1496703"/>
          </a:xfrm>
          <a:prstGeom prst="wedgeRoundRectCallout">
            <a:avLst>
              <a:gd name="adj1" fmla="val -684"/>
              <a:gd name="adj2" fmla="val 73611"/>
              <a:gd name="adj3" fmla="val 16667"/>
            </a:avLst>
          </a:prstGeom>
          <a:solidFill>
            <a:srgbClr val="008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r>
              <a:rPr lang="en-US" sz="3600" dirty="0">
                <a:solidFill>
                  <a:srgbClr val="FFFFFF"/>
                </a:solidFill>
                <a:latin typeface="Tahoma"/>
                <a:cs typeface="Tahoma"/>
              </a:rPr>
              <a:t>Words in call out</a:t>
            </a:r>
          </a:p>
        </p:txBody>
      </p:sp>
      <p:sp>
        <p:nvSpPr>
          <p:cNvPr id="5" name="Right Arrow 4"/>
          <p:cNvSpPr/>
          <p:nvPr userDrawn="1"/>
        </p:nvSpPr>
        <p:spPr bwMode="auto">
          <a:xfrm>
            <a:off x="8559054" y="725674"/>
            <a:ext cx="2716569" cy="1300167"/>
          </a:xfrm>
          <a:prstGeom prst="rightArrow">
            <a:avLst/>
          </a:prstGeom>
          <a:solidFill>
            <a:srgbClr val="0000FF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060580" y="2902699"/>
            <a:ext cx="4167885" cy="6589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03900" tIns="51951" rIns="103900" bIns="51951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dirty="0">
                <a:solidFill>
                  <a:srgbClr val="000000"/>
                </a:solidFill>
                <a:latin typeface="Tahoma"/>
                <a:cs typeface="Tahoma"/>
              </a:rPr>
              <a:t>Text box with line</a:t>
            </a:r>
          </a:p>
        </p:txBody>
      </p:sp>
      <p:sp>
        <p:nvSpPr>
          <p:cNvPr id="9" name="Left Brace 8"/>
          <p:cNvSpPr/>
          <p:nvPr userDrawn="1"/>
        </p:nvSpPr>
        <p:spPr bwMode="auto">
          <a:xfrm>
            <a:off x="893119" y="4036564"/>
            <a:ext cx="707052" cy="1783949"/>
          </a:xfrm>
          <a:prstGeom prst="leftBrace">
            <a:avLst>
              <a:gd name="adj1" fmla="val 29902"/>
              <a:gd name="adj2" fmla="val 50000"/>
            </a:avLst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lg" len="lg"/>
          </a:ln>
          <a:effectLst/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b="1" dirty="0">
              <a:solidFill>
                <a:srgbClr val="970000"/>
              </a:solidFill>
              <a:cs typeface="Arial" charset="0"/>
            </a:endParaRPr>
          </a:p>
        </p:txBody>
      </p:sp>
      <p:sp>
        <p:nvSpPr>
          <p:cNvPr id="11" name="Explosion 2 10"/>
          <p:cNvSpPr/>
          <p:nvPr userDrawn="1"/>
        </p:nvSpPr>
        <p:spPr bwMode="auto">
          <a:xfrm>
            <a:off x="1897879" y="3719080"/>
            <a:ext cx="4149280" cy="2449152"/>
          </a:xfrm>
          <a:prstGeom prst="irregularSeal2">
            <a:avLst/>
          </a:prstGeom>
          <a:solidFill>
            <a:srgbClr val="FF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r>
              <a:rPr lang="en-US" sz="3600" dirty="0">
                <a:solidFill>
                  <a:srgbClr val="970000"/>
                </a:solidFill>
                <a:latin typeface="Tahoma"/>
                <a:cs typeface="Tahoma"/>
              </a:rPr>
              <a:t>Kaizen burs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6564656" y="2873073"/>
            <a:ext cx="4822608" cy="2310842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square" lIns="103900" tIns="51951" rIns="103900" bIns="51951">
            <a:spAutoFit/>
          </a:bodyPr>
          <a:lstStyle/>
          <a:p>
            <a:pPr marL="389616" indent="-389616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3200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844168" lvl="1" indent="-324680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0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6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1399732" lvl="2" indent="-339110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2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hird level</a:t>
            </a:r>
          </a:p>
          <a:p>
            <a:pPr marL="1883145" lvl="3" indent="-259744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000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Fourth level</a:t>
            </a:r>
          </a:p>
          <a:p>
            <a:pPr marL="2359342" lvl="4" indent="-259744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18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4087916"/>
      </p:ext>
    </p:extLst>
  </p:cSld>
  <p:clrMapOvr>
    <a:masterClrMapping/>
  </p:clrMapOvr>
  <p:transition spd="med">
    <p:zo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8951" y="246063"/>
            <a:ext cx="11216216" cy="80645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C57AA1-02A0-9F43-9822-62D2ECF37AD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EFF9F8-4C0B-43E2-8392-420B2CF488E5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8B0481C-5A2D-42BC-AF38-6661FA7BE5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64586" y="46357"/>
            <a:ext cx="1599982" cy="584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96047"/>
      </p:ext>
    </p:extLst>
  </p:cSld>
  <p:clrMapOvr>
    <a:masterClrMapping/>
  </p:clrMapOvr>
  <p:transition spd="med">
    <p:zoom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49"/>
            <a:ext cx="4011084" cy="1162051"/>
          </a:xfrm>
        </p:spPr>
        <p:txBody>
          <a:bodyPr anchor="b"/>
          <a:lstStyle>
            <a:lvl1pPr algn="l">
              <a:defRPr sz="22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615219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1867"/>
            </a:lvl5pPr>
            <a:lvl6pPr>
              <a:defRPr sz="2267"/>
            </a:lvl6pPr>
            <a:lvl7pPr>
              <a:defRPr sz="2267"/>
            </a:lvl7pPr>
            <a:lvl8pPr>
              <a:defRPr sz="2267"/>
            </a:lvl8pPr>
            <a:lvl9pPr>
              <a:defRPr sz="22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5005259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64BF9D-09F1-0745-892E-F082D0B8385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825809"/>
      </p:ext>
    </p:extLst>
  </p:cSld>
  <p:clrMapOvr>
    <a:masterClrMapping/>
  </p:clrMapOvr>
  <p:transition spd="med">
    <p:zoom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19488" indent="0">
              <a:buNone/>
              <a:defRPr sz="3200"/>
            </a:lvl2pPr>
            <a:lvl3pPr marL="1038977" indent="0">
              <a:buNone/>
              <a:defRPr sz="2667"/>
            </a:lvl3pPr>
            <a:lvl4pPr marL="1558465" indent="0">
              <a:buNone/>
              <a:defRPr sz="2267"/>
            </a:lvl4pPr>
            <a:lvl5pPr marL="2077952" indent="0">
              <a:buNone/>
              <a:defRPr sz="2267"/>
            </a:lvl5pPr>
            <a:lvl6pPr marL="2597440" indent="0">
              <a:buNone/>
              <a:defRPr sz="2267"/>
            </a:lvl6pPr>
            <a:lvl7pPr marL="3116929" indent="0">
              <a:buNone/>
              <a:defRPr sz="2267"/>
            </a:lvl7pPr>
            <a:lvl8pPr marL="3636417" indent="0">
              <a:buNone/>
              <a:defRPr sz="2267"/>
            </a:lvl8pPr>
            <a:lvl9pPr marL="4155905" indent="0">
              <a:buNone/>
              <a:defRPr sz="2267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FCE50D-FBB8-7243-BB86-E63354E10F9F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644470"/>
      </p:ext>
    </p:extLst>
  </p:cSld>
  <p:clrMapOvr>
    <a:masterClrMapping/>
  </p:clrMapOvr>
  <p:transition spd="med">
    <p:zoom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6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54CA9A0-52B4-4DE9-B7FC-EE35F75D463D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1" y="6357939"/>
            <a:ext cx="1714500" cy="214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11E1B60-BB9E-4343-AF63-F6765BB6A496}" type="slidenum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6943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A5B7F-CB24-44DB-B257-076E77A67FC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9217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ChangeArrowheads="1"/>
          </p:cNvSpPr>
          <p:nvPr/>
        </p:nvSpPr>
        <p:spPr bwMode="gray">
          <a:xfrm>
            <a:off x="0" y="6267450"/>
            <a:ext cx="12192000" cy="5905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3" name="Rectangle 9"/>
          <p:cNvSpPr>
            <a:spLocks noChangeArrowheads="1"/>
          </p:cNvSpPr>
          <p:nvPr/>
        </p:nvSpPr>
        <p:spPr bwMode="gray">
          <a:xfrm>
            <a:off x="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gray">
          <a:xfrm>
            <a:off x="0" y="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pic>
        <p:nvPicPr>
          <p:cNvPr id="7" name="Picture 19" descr="logo_do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51" y="6340475"/>
            <a:ext cx="224154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27"/>
          <p:cNvGrpSpPr>
            <a:grpSpLocks/>
          </p:cNvGrpSpPr>
          <p:nvPr/>
        </p:nvGrpSpPr>
        <p:grpSpPr bwMode="auto">
          <a:xfrm>
            <a:off x="311151" y="6264275"/>
            <a:ext cx="11580283" cy="50800"/>
            <a:chOff x="143" y="3695"/>
            <a:chExt cx="5471" cy="32"/>
          </a:xfrm>
        </p:grpSpPr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143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5087"/>
                </a:gs>
                <a:gs pos="100000">
                  <a:srgbClr val="00A1D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 userDrawn="1"/>
          </p:nvSpPr>
          <p:spPr bwMode="auto">
            <a:xfrm>
              <a:off x="2877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A1D4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</p:grpSp>
      <p:pic>
        <p:nvPicPr>
          <p:cNvPr id="11" name="Picture 15" descr="NEW_BOXED__contour___Zodiac___FONT_thinnest.png"/>
          <p:cNvPicPr>
            <a:picLocks noChangeAspect="1"/>
          </p:cNvPicPr>
          <p:nvPr userDrawn="1"/>
        </p:nvPicPr>
        <p:blipFill>
          <a:blip r:embed="rId3">
            <a:lum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2778" r="4173" b="24141"/>
          <a:stretch>
            <a:fillRect/>
          </a:stretch>
        </p:blipFill>
        <p:spPr bwMode="auto">
          <a:xfrm>
            <a:off x="11154836" y="58739"/>
            <a:ext cx="96943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3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664384-9FBA-42D0-B021-F0BA7E008123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3" y="6357939"/>
            <a:ext cx="1714500" cy="214312"/>
          </a:xfrm>
        </p:spPr>
        <p:txBody>
          <a:bodyPr/>
          <a:lstStyle>
            <a:lvl1pPr algn="l">
              <a:defRPr sz="900" b="1">
                <a:solidFill>
                  <a:srgbClr val="71A1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DD5A3CD-5302-45C2-AF6B-CD5410B4D9E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90983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0" y="6267450"/>
            <a:ext cx="12192000" cy="5905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gray">
          <a:xfrm>
            <a:off x="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gray">
          <a:xfrm>
            <a:off x="0" y="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pic>
        <p:nvPicPr>
          <p:cNvPr id="10" name="Picture 19" descr="logo_do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51" y="6340475"/>
            <a:ext cx="224154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27"/>
          <p:cNvGrpSpPr>
            <a:grpSpLocks/>
          </p:cNvGrpSpPr>
          <p:nvPr/>
        </p:nvGrpSpPr>
        <p:grpSpPr bwMode="auto">
          <a:xfrm>
            <a:off x="311151" y="6264275"/>
            <a:ext cx="11580283" cy="50800"/>
            <a:chOff x="143" y="3695"/>
            <a:chExt cx="5471" cy="32"/>
          </a:xfrm>
        </p:grpSpPr>
        <p:sp>
          <p:nvSpPr>
            <p:cNvPr id="12" name="Rectangle 23"/>
            <p:cNvSpPr>
              <a:spLocks noChangeArrowheads="1"/>
            </p:cNvSpPr>
            <p:nvPr/>
          </p:nvSpPr>
          <p:spPr bwMode="auto">
            <a:xfrm>
              <a:off x="143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5087"/>
                </a:gs>
                <a:gs pos="100000">
                  <a:srgbClr val="00A1D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  <p:sp>
          <p:nvSpPr>
            <p:cNvPr id="13" name="Rectangle 26"/>
            <p:cNvSpPr>
              <a:spLocks noChangeArrowheads="1"/>
            </p:cNvSpPr>
            <p:nvPr userDrawn="1"/>
          </p:nvSpPr>
          <p:spPr bwMode="auto">
            <a:xfrm>
              <a:off x="2877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A1D4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</p:grpSp>
      <p:pic>
        <p:nvPicPr>
          <p:cNvPr id="14" name="Picture 15" descr="NEW_BOXED__contour___Zodiac___FONT_thinnest.png"/>
          <p:cNvPicPr>
            <a:picLocks noChangeAspect="1"/>
          </p:cNvPicPr>
          <p:nvPr userDrawn="1"/>
        </p:nvPicPr>
        <p:blipFill>
          <a:blip r:embed="rId3">
            <a:lum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2778" r="4173" b="24141"/>
          <a:stretch>
            <a:fillRect/>
          </a:stretch>
        </p:blipFill>
        <p:spPr bwMode="auto">
          <a:xfrm>
            <a:off x="11154836" y="58739"/>
            <a:ext cx="96943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6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7E33BD8-BB52-4429-8C5C-CEC4F2537B05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3" y="6357939"/>
            <a:ext cx="1714500" cy="214312"/>
          </a:xfrm>
        </p:spPr>
        <p:txBody>
          <a:bodyPr/>
          <a:lstStyle>
            <a:lvl1pPr algn="l">
              <a:defRPr sz="900" b="1">
                <a:solidFill>
                  <a:srgbClr val="71A1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2BCC350-CA2C-42AE-AF4A-48C371554FC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884288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0"/>
            <a:ext cx="9652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19201"/>
            <a:ext cx="11582400" cy="262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4000501"/>
            <a:ext cx="11582400" cy="262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0" y="6629400"/>
            <a:ext cx="406400" cy="228600"/>
          </a:xfrm>
        </p:spPr>
        <p:txBody>
          <a:bodyPr/>
          <a:lstStyle>
            <a:lvl1pPr>
              <a:defRPr/>
            </a:lvl1pPr>
          </a:lstStyle>
          <a:p>
            <a:fld id="{47CAC3C1-2BD7-4ACA-A0A9-11498B72E41A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7836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117600" y="488950"/>
            <a:ext cx="10464800" cy="59642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219200" y="6553202"/>
            <a:ext cx="54864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>
                <a:solidFill>
                  <a:srgbClr val="970000"/>
                </a:solidFill>
                <a:cs typeface="Arial" pitchFamily="8" charset="0"/>
              </a:rPr>
              <a:t>Lean Enterprise Academy</a:t>
            </a: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0" y="6518276"/>
            <a:ext cx="1117600" cy="339725"/>
          </a:xfrm>
        </p:spPr>
        <p:txBody>
          <a:bodyPr/>
          <a:lstStyle>
            <a:lvl1pPr>
              <a:defRPr smtClean="0"/>
            </a:lvl1pPr>
          </a:lstStyle>
          <a:p>
            <a:fld id="{C6C3EC27-BF2A-5D48-8714-A162EC98A8F5}" type="slidenum">
              <a:rPr lang="en-GB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523297"/>
      </p:ext>
    </p:extLst>
  </p:cSld>
  <p:clrMapOvr>
    <a:masterClrMapping/>
  </p:clrMapOvr>
  <p:transition>
    <p:zoom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90513"/>
            <a:ext cx="11582400" cy="990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12800" y="1752600"/>
            <a:ext cx="5232400" cy="373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752600"/>
            <a:ext cx="5232400" cy="373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04802" y="6248401"/>
            <a:ext cx="783167" cy="4889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EBEF5710-2ABF-46BE-B449-503B66F6337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1291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921934" y="12144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3600" b="1">
              <a:solidFill>
                <a:srgbClr val="970000"/>
              </a:solidFill>
              <a:cs typeface="Arial" charset="0"/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4994601" y="4995863"/>
            <a:ext cx="2240898" cy="925782"/>
          </a:xfrm>
          <a:prstGeom prst="rect">
            <a:avLst/>
          </a:prstGeom>
          <a:noFill/>
          <a:ln w="28575" algn="ctr">
            <a:noFill/>
            <a:miter lim="800000"/>
            <a:headEnd type="none" w="sm" len="sm"/>
            <a:tailEnd type="none" w="lg" len="lg"/>
          </a:ln>
          <a:effectLst/>
        </p:spPr>
        <p:txBody>
          <a:bodyPr wrap="none" lIns="103900" tIns="51951" rIns="103900" bIns="5195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8" charset="2"/>
              <a:buNone/>
            </a:pPr>
            <a: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Darren </a:t>
            </a:r>
            <a:r>
              <a:rPr lang="en-US" sz="2667" dirty="0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Walsh</a:t>
            </a:r>
            <a:b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</a:br>
            <a: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2016</a:t>
            </a:r>
            <a:endParaRPr lang="en-US" sz="2667" dirty="0">
              <a:solidFill>
                <a:srgbClr val="800000"/>
              </a:solidFill>
              <a:latin typeface="Tahoma" pitchFamily="8" charset="0"/>
              <a:ea typeface="Tahoma" pitchFamily="8" charset="0"/>
              <a:cs typeface="Tahoma" pitchFamily="8" charset="0"/>
            </a:endParaRPr>
          </a:p>
        </p:txBody>
      </p:sp>
      <p:sp>
        <p:nvSpPr>
          <p:cNvPr id="6891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219200" y="2057400"/>
            <a:ext cx="9753600" cy="1143000"/>
          </a:xfr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8915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fld id="{13B9B73C-3867-304D-ABA3-D6FEE1C2514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 Box 10"/>
          <p:cNvSpPr txBox="1">
            <a:spLocks noChangeArrowheads="1"/>
          </p:cNvSpPr>
          <p:nvPr userDrawn="1"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 err="1">
                <a:solidFill>
                  <a:srgbClr val="FFFFFF"/>
                </a:solidFill>
                <a:latin typeface="Tahoma"/>
                <a:cs typeface="Tahoma"/>
              </a:rPr>
              <a:t>www.leanuk.org</a:t>
            </a:r>
            <a:endParaRPr lang="en-GB" sz="1600" b="1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736540"/>
      </p:ext>
    </p:extLst>
  </p:cSld>
  <p:clrMapOvr>
    <a:masterClrMapping/>
  </p:clrMapOvr>
  <p:transition spd="med"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1848933"/>
            <a:ext cx="10363200" cy="1362075"/>
          </a:xfrm>
        </p:spPr>
        <p:txBody>
          <a:bodyPr/>
          <a:lstStyle>
            <a:lvl1pPr algn="ctr">
              <a:defRPr sz="4133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16616"/>
            <a:ext cx="1117600" cy="339725"/>
          </a:xfrm>
          <a:ln/>
        </p:spPr>
        <p:txBody>
          <a:bodyPr/>
          <a:lstStyle>
            <a:lvl1pPr>
              <a:defRPr/>
            </a:lvl1pPr>
          </a:lstStyle>
          <a:p>
            <a:fld id="{36DF0846-C13C-2343-9EC6-CDDE83EBDC8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408D21-A32D-4C32-B9DE-BEC21CBE5388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E16EA9-973A-4CDD-BFDE-01582DBA66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32022"/>
      </p:ext>
    </p:extLst>
  </p:cSld>
  <p:clrMapOvr>
    <a:masterClrMapping/>
  </p:clrMapOvr>
  <p:transition spd="med">
    <p:zoom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C57AA1-02A0-9F43-9822-62D2ECF37AD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267247"/>
      </p:ext>
    </p:extLst>
  </p:cSld>
  <p:clrMapOvr>
    <a:masterClrMapping/>
  </p:clrMapOvr>
  <p:transition spd="med">
    <p:zoom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1848933"/>
            <a:ext cx="10363200" cy="1362075"/>
          </a:xfrm>
        </p:spPr>
        <p:txBody>
          <a:bodyPr/>
          <a:lstStyle>
            <a:lvl1pPr algn="ctr">
              <a:defRPr sz="4133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16616"/>
            <a:ext cx="1117600" cy="339725"/>
          </a:xfrm>
          <a:ln/>
        </p:spPr>
        <p:txBody>
          <a:bodyPr/>
          <a:lstStyle>
            <a:lvl1pPr>
              <a:defRPr/>
            </a:lvl1pPr>
          </a:lstStyle>
          <a:p>
            <a:fld id="{36DF0846-C13C-2343-9EC6-CDDE83EBDC8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704625"/>
      </p:ext>
    </p:extLst>
  </p:cSld>
  <p:clrMapOvr>
    <a:masterClrMapping/>
  </p:clrMapOvr>
  <p:transition spd="med">
    <p:zoom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6927" y="1360713"/>
            <a:ext cx="5458991" cy="5092475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997" y="1360713"/>
            <a:ext cx="5458991" cy="50924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52C64F-697D-7041-B90B-50904C326C8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497351"/>
      </p:ext>
    </p:extLst>
  </p:cSld>
  <p:clrMapOvr>
    <a:masterClrMapping/>
  </p:clrMapOvr>
  <p:transition spd="med">
    <p:zoom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E68D59-9A91-3F4F-9075-DA36E169F298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870617"/>
      </p:ext>
    </p:extLst>
  </p:cSld>
  <p:clrMapOvr>
    <a:masterClrMapping/>
  </p:clrMapOvr>
  <p:transition spd="med">
    <p:zoom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27D89B-2B4D-5E40-9B6E-0EF488D49D3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472590"/>
      </p:ext>
    </p:extLst>
  </p:cSld>
  <p:clrMapOvr>
    <a:masterClrMapping/>
  </p:clrMapOvr>
  <p:transition spd="med">
    <p:zoom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696494"/>
      </p:ext>
    </p:extLst>
  </p:cSld>
  <p:clrMapOvr>
    <a:masterClrMapping/>
  </p:clrMapOvr>
  <p:transition spd="med">
    <p:zoom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23366" y="725674"/>
            <a:ext cx="2679356" cy="1647887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4" name="Rounded Rectangular Callout 3"/>
          <p:cNvSpPr/>
          <p:nvPr userDrawn="1"/>
        </p:nvSpPr>
        <p:spPr bwMode="auto">
          <a:xfrm>
            <a:off x="4930761" y="771030"/>
            <a:ext cx="2493289" cy="1496703"/>
          </a:xfrm>
          <a:prstGeom prst="wedgeRoundRectCallout">
            <a:avLst>
              <a:gd name="adj1" fmla="val -684"/>
              <a:gd name="adj2" fmla="val 73611"/>
              <a:gd name="adj3" fmla="val 16667"/>
            </a:avLst>
          </a:prstGeom>
          <a:solidFill>
            <a:srgbClr val="008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r>
              <a:rPr lang="en-US" sz="3600" dirty="0">
                <a:solidFill>
                  <a:srgbClr val="FFFFFF"/>
                </a:solidFill>
                <a:latin typeface="Tahoma"/>
                <a:cs typeface="Tahoma"/>
              </a:rPr>
              <a:t>Words in call out</a:t>
            </a:r>
          </a:p>
        </p:txBody>
      </p:sp>
      <p:sp>
        <p:nvSpPr>
          <p:cNvPr id="5" name="Right Arrow 4"/>
          <p:cNvSpPr/>
          <p:nvPr userDrawn="1"/>
        </p:nvSpPr>
        <p:spPr bwMode="auto">
          <a:xfrm>
            <a:off x="8559054" y="725674"/>
            <a:ext cx="2716569" cy="1300167"/>
          </a:xfrm>
          <a:prstGeom prst="rightArrow">
            <a:avLst/>
          </a:prstGeom>
          <a:solidFill>
            <a:srgbClr val="0000FF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060580" y="2902699"/>
            <a:ext cx="4167885" cy="6589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03900" tIns="51951" rIns="103900" bIns="51951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dirty="0">
                <a:solidFill>
                  <a:srgbClr val="000000"/>
                </a:solidFill>
                <a:latin typeface="Tahoma"/>
                <a:cs typeface="Tahoma"/>
              </a:rPr>
              <a:t>Text box with line</a:t>
            </a:r>
          </a:p>
        </p:txBody>
      </p:sp>
      <p:sp>
        <p:nvSpPr>
          <p:cNvPr id="9" name="Left Brace 8"/>
          <p:cNvSpPr/>
          <p:nvPr userDrawn="1"/>
        </p:nvSpPr>
        <p:spPr bwMode="auto">
          <a:xfrm>
            <a:off x="893119" y="4036564"/>
            <a:ext cx="707052" cy="1783949"/>
          </a:xfrm>
          <a:prstGeom prst="leftBrace">
            <a:avLst>
              <a:gd name="adj1" fmla="val 29902"/>
              <a:gd name="adj2" fmla="val 50000"/>
            </a:avLst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lg" len="lg"/>
          </a:ln>
          <a:effectLst/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b="1" dirty="0">
              <a:solidFill>
                <a:srgbClr val="970000"/>
              </a:solidFill>
              <a:cs typeface="Arial" charset="0"/>
            </a:endParaRPr>
          </a:p>
        </p:txBody>
      </p:sp>
      <p:sp>
        <p:nvSpPr>
          <p:cNvPr id="11" name="Explosion 2 10"/>
          <p:cNvSpPr/>
          <p:nvPr userDrawn="1"/>
        </p:nvSpPr>
        <p:spPr bwMode="auto">
          <a:xfrm>
            <a:off x="1897879" y="3719080"/>
            <a:ext cx="4149280" cy="2449152"/>
          </a:xfrm>
          <a:prstGeom prst="irregularSeal2">
            <a:avLst/>
          </a:prstGeom>
          <a:solidFill>
            <a:srgbClr val="FF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r>
              <a:rPr lang="en-US" sz="3600" dirty="0">
                <a:solidFill>
                  <a:srgbClr val="970000"/>
                </a:solidFill>
                <a:latin typeface="Tahoma"/>
                <a:cs typeface="Tahoma"/>
              </a:rPr>
              <a:t>Kaizen burs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6564656" y="2873073"/>
            <a:ext cx="4822608" cy="2310842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square" lIns="103900" tIns="51951" rIns="103900" bIns="51951">
            <a:spAutoFit/>
          </a:bodyPr>
          <a:lstStyle/>
          <a:p>
            <a:pPr marL="389616" indent="-389616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3200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844168" lvl="1" indent="-324680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0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6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1399732" lvl="2" indent="-339110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2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hird level</a:t>
            </a:r>
          </a:p>
          <a:p>
            <a:pPr marL="1883145" lvl="3" indent="-259744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000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Fourth level</a:t>
            </a:r>
          </a:p>
          <a:p>
            <a:pPr marL="2359342" lvl="4" indent="-259744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18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18176377"/>
      </p:ext>
    </p:extLst>
  </p:cSld>
  <p:clrMapOvr>
    <a:masterClrMapping/>
  </p:clrMapOvr>
  <p:transition spd="med">
    <p:zoom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49"/>
            <a:ext cx="4011084" cy="1162051"/>
          </a:xfrm>
        </p:spPr>
        <p:txBody>
          <a:bodyPr anchor="b"/>
          <a:lstStyle>
            <a:lvl1pPr algn="l">
              <a:defRPr sz="22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615219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1867"/>
            </a:lvl5pPr>
            <a:lvl6pPr>
              <a:defRPr sz="2267"/>
            </a:lvl6pPr>
            <a:lvl7pPr>
              <a:defRPr sz="2267"/>
            </a:lvl7pPr>
            <a:lvl8pPr>
              <a:defRPr sz="2267"/>
            </a:lvl8pPr>
            <a:lvl9pPr>
              <a:defRPr sz="22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5005259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64BF9D-09F1-0745-892E-F082D0B8385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017486"/>
      </p:ext>
    </p:extLst>
  </p:cSld>
  <p:clrMapOvr>
    <a:masterClrMapping/>
  </p:clrMapOvr>
  <p:transition spd="med">
    <p:zoom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19488" indent="0">
              <a:buNone/>
              <a:defRPr sz="3200"/>
            </a:lvl2pPr>
            <a:lvl3pPr marL="1038977" indent="0">
              <a:buNone/>
              <a:defRPr sz="2667"/>
            </a:lvl3pPr>
            <a:lvl4pPr marL="1558465" indent="0">
              <a:buNone/>
              <a:defRPr sz="2267"/>
            </a:lvl4pPr>
            <a:lvl5pPr marL="2077952" indent="0">
              <a:buNone/>
              <a:defRPr sz="2267"/>
            </a:lvl5pPr>
            <a:lvl6pPr marL="2597440" indent="0">
              <a:buNone/>
              <a:defRPr sz="2267"/>
            </a:lvl6pPr>
            <a:lvl7pPr marL="3116929" indent="0">
              <a:buNone/>
              <a:defRPr sz="2267"/>
            </a:lvl7pPr>
            <a:lvl8pPr marL="3636417" indent="0">
              <a:buNone/>
              <a:defRPr sz="2267"/>
            </a:lvl8pPr>
            <a:lvl9pPr marL="4155905" indent="0">
              <a:buNone/>
              <a:defRPr sz="2267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FCE50D-FBB8-7243-BB86-E63354E10F9F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144270"/>
      </p:ext>
    </p:extLst>
  </p:cSld>
  <p:clrMapOvr>
    <a:masterClrMapping/>
  </p:clrMapOvr>
  <p:transition spd="med">
    <p:zoom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6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54CA9A0-52B4-4DE9-B7FC-EE35F75D463D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1" y="6357939"/>
            <a:ext cx="1714500" cy="214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11E1B60-BB9E-4343-AF63-F6765BB6A496}" type="slidenum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9355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6927" y="1360713"/>
            <a:ext cx="5458991" cy="5092475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997" y="1360713"/>
            <a:ext cx="5458991" cy="50924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52C64F-697D-7041-B90B-50904C326C86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7F04D52-F59B-4ABA-AC96-CC9468B2AFE6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B393CA1-225C-4A08-B6DC-AAEC4165CF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34070"/>
      </p:ext>
    </p:extLst>
  </p:cSld>
  <p:clrMapOvr>
    <a:masterClrMapping/>
  </p:clrMapOvr>
  <p:transition spd="med">
    <p:zoom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A5B7F-CB24-44DB-B257-076E77A67FC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7072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ChangeArrowheads="1"/>
          </p:cNvSpPr>
          <p:nvPr/>
        </p:nvSpPr>
        <p:spPr bwMode="gray">
          <a:xfrm>
            <a:off x="0" y="6267450"/>
            <a:ext cx="12192000" cy="5905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3" name="Rectangle 9"/>
          <p:cNvSpPr>
            <a:spLocks noChangeArrowheads="1"/>
          </p:cNvSpPr>
          <p:nvPr/>
        </p:nvSpPr>
        <p:spPr bwMode="gray">
          <a:xfrm>
            <a:off x="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gray">
          <a:xfrm>
            <a:off x="0" y="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pic>
        <p:nvPicPr>
          <p:cNvPr id="7" name="Picture 19" descr="logo_do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51" y="6340475"/>
            <a:ext cx="224154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27"/>
          <p:cNvGrpSpPr>
            <a:grpSpLocks/>
          </p:cNvGrpSpPr>
          <p:nvPr/>
        </p:nvGrpSpPr>
        <p:grpSpPr bwMode="auto">
          <a:xfrm>
            <a:off x="311151" y="6264275"/>
            <a:ext cx="11580283" cy="50800"/>
            <a:chOff x="143" y="3695"/>
            <a:chExt cx="5471" cy="32"/>
          </a:xfrm>
        </p:grpSpPr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143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5087"/>
                </a:gs>
                <a:gs pos="100000">
                  <a:srgbClr val="00A1D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 userDrawn="1"/>
          </p:nvSpPr>
          <p:spPr bwMode="auto">
            <a:xfrm>
              <a:off x="2877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A1D4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</p:grpSp>
      <p:pic>
        <p:nvPicPr>
          <p:cNvPr id="11" name="Picture 15" descr="NEW_BOXED__contour___Zodiac___FONT_thinnest.png"/>
          <p:cNvPicPr>
            <a:picLocks noChangeAspect="1"/>
          </p:cNvPicPr>
          <p:nvPr userDrawn="1"/>
        </p:nvPicPr>
        <p:blipFill>
          <a:blip r:embed="rId3">
            <a:lum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2778" r="4173" b="24141"/>
          <a:stretch>
            <a:fillRect/>
          </a:stretch>
        </p:blipFill>
        <p:spPr bwMode="auto">
          <a:xfrm>
            <a:off x="11154836" y="58739"/>
            <a:ext cx="96943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3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664384-9FBA-42D0-B021-F0BA7E008123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3" y="6357939"/>
            <a:ext cx="1714500" cy="214312"/>
          </a:xfrm>
        </p:spPr>
        <p:txBody>
          <a:bodyPr/>
          <a:lstStyle>
            <a:lvl1pPr algn="l">
              <a:defRPr sz="900" b="1">
                <a:solidFill>
                  <a:srgbClr val="71A1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DD5A3CD-5302-45C2-AF6B-CD5410B4D9E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830735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0" y="6267450"/>
            <a:ext cx="12192000" cy="5905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gray">
          <a:xfrm>
            <a:off x="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gray">
          <a:xfrm>
            <a:off x="0" y="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pic>
        <p:nvPicPr>
          <p:cNvPr id="10" name="Picture 19" descr="logo_do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51" y="6340475"/>
            <a:ext cx="224154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27"/>
          <p:cNvGrpSpPr>
            <a:grpSpLocks/>
          </p:cNvGrpSpPr>
          <p:nvPr/>
        </p:nvGrpSpPr>
        <p:grpSpPr bwMode="auto">
          <a:xfrm>
            <a:off x="311151" y="6264275"/>
            <a:ext cx="11580283" cy="50800"/>
            <a:chOff x="143" y="3695"/>
            <a:chExt cx="5471" cy="32"/>
          </a:xfrm>
        </p:grpSpPr>
        <p:sp>
          <p:nvSpPr>
            <p:cNvPr id="12" name="Rectangle 23"/>
            <p:cNvSpPr>
              <a:spLocks noChangeArrowheads="1"/>
            </p:cNvSpPr>
            <p:nvPr/>
          </p:nvSpPr>
          <p:spPr bwMode="auto">
            <a:xfrm>
              <a:off x="143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5087"/>
                </a:gs>
                <a:gs pos="100000">
                  <a:srgbClr val="00A1D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  <p:sp>
          <p:nvSpPr>
            <p:cNvPr id="13" name="Rectangle 26"/>
            <p:cNvSpPr>
              <a:spLocks noChangeArrowheads="1"/>
            </p:cNvSpPr>
            <p:nvPr userDrawn="1"/>
          </p:nvSpPr>
          <p:spPr bwMode="auto">
            <a:xfrm>
              <a:off x="2877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A1D4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</p:grpSp>
      <p:pic>
        <p:nvPicPr>
          <p:cNvPr id="14" name="Picture 15" descr="NEW_BOXED__contour___Zodiac___FONT_thinnest.png"/>
          <p:cNvPicPr>
            <a:picLocks noChangeAspect="1"/>
          </p:cNvPicPr>
          <p:nvPr userDrawn="1"/>
        </p:nvPicPr>
        <p:blipFill>
          <a:blip r:embed="rId3">
            <a:lum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2778" r="4173" b="24141"/>
          <a:stretch>
            <a:fillRect/>
          </a:stretch>
        </p:blipFill>
        <p:spPr bwMode="auto">
          <a:xfrm>
            <a:off x="11154836" y="58739"/>
            <a:ext cx="96943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6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7E33BD8-BB52-4429-8C5C-CEC4F2537B05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3" y="6357939"/>
            <a:ext cx="1714500" cy="214312"/>
          </a:xfrm>
        </p:spPr>
        <p:txBody>
          <a:bodyPr/>
          <a:lstStyle>
            <a:lvl1pPr algn="l">
              <a:defRPr sz="900" b="1">
                <a:solidFill>
                  <a:srgbClr val="71A1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2BCC350-CA2C-42AE-AF4A-48C371554FC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371188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0"/>
            <a:ext cx="9652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19201"/>
            <a:ext cx="11582400" cy="262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4000501"/>
            <a:ext cx="11582400" cy="262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0" y="6629400"/>
            <a:ext cx="406400" cy="228600"/>
          </a:xfrm>
        </p:spPr>
        <p:txBody>
          <a:bodyPr/>
          <a:lstStyle>
            <a:lvl1pPr>
              <a:defRPr/>
            </a:lvl1pPr>
          </a:lstStyle>
          <a:p>
            <a:fld id="{47CAC3C1-2BD7-4ACA-A0A9-11498B72E41A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6674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117600" y="488950"/>
            <a:ext cx="10464800" cy="59642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219200" y="6553202"/>
            <a:ext cx="54864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>
                <a:solidFill>
                  <a:srgbClr val="970000"/>
                </a:solidFill>
                <a:cs typeface="Arial" pitchFamily="8" charset="0"/>
              </a:rPr>
              <a:t>Lean Enterprise Academy</a:t>
            </a: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0" y="6518276"/>
            <a:ext cx="1117600" cy="339725"/>
          </a:xfrm>
        </p:spPr>
        <p:txBody>
          <a:bodyPr/>
          <a:lstStyle>
            <a:lvl1pPr>
              <a:defRPr smtClean="0"/>
            </a:lvl1pPr>
          </a:lstStyle>
          <a:p>
            <a:fld id="{C6C3EC27-BF2A-5D48-8714-A162EC98A8F5}" type="slidenum">
              <a:rPr lang="en-GB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646126"/>
      </p:ext>
    </p:extLst>
  </p:cSld>
  <p:clrMapOvr>
    <a:masterClrMapping/>
  </p:clrMapOvr>
  <p:transition>
    <p:zoom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90513"/>
            <a:ext cx="11582400" cy="990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12800" y="1752600"/>
            <a:ext cx="5232400" cy="373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752600"/>
            <a:ext cx="5232400" cy="373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04802" y="6248401"/>
            <a:ext cx="783167" cy="4889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EBEF5710-2ABF-46BE-B449-503B66F6337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8108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921934" y="12144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3600" b="1">
              <a:solidFill>
                <a:srgbClr val="970000"/>
              </a:solidFill>
              <a:cs typeface="Arial" charset="0"/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4994601" y="4995863"/>
            <a:ext cx="2240898" cy="925782"/>
          </a:xfrm>
          <a:prstGeom prst="rect">
            <a:avLst/>
          </a:prstGeom>
          <a:noFill/>
          <a:ln w="28575" algn="ctr">
            <a:noFill/>
            <a:miter lim="800000"/>
            <a:headEnd type="none" w="sm" len="sm"/>
            <a:tailEnd type="none" w="lg" len="lg"/>
          </a:ln>
          <a:effectLst/>
        </p:spPr>
        <p:txBody>
          <a:bodyPr wrap="none" lIns="103900" tIns="51951" rIns="103900" bIns="5195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8" charset="2"/>
              <a:buNone/>
            </a:pPr>
            <a: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Darren </a:t>
            </a:r>
            <a:r>
              <a:rPr lang="en-US" sz="2667" dirty="0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Walsh</a:t>
            </a:r>
            <a:b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</a:br>
            <a:r>
              <a:rPr lang="en-US" sz="2667">
                <a:solidFill>
                  <a:srgbClr val="800000"/>
                </a:solidFill>
                <a:latin typeface="Tahoma" pitchFamily="8" charset="0"/>
                <a:ea typeface="Tahoma" pitchFamily="8" charset="0"/>
                <a:cs typeface="Tahoma" pitchFamily="8" charset="0"/>
              </a:rPr>
              <a:t>2016</a:t>
            </a:r>
            <a:endParaRPr lang="en-US" sz="2667" dirty="0">
              <a:solidFill>
                <a:srgbClr val="800000"/>
              </a:solidFill>
              <a:latin typeface="Tahoma" pitchFamily="8" charset="0"/>
              <a:ea typeface="Tahoma" pitchFamily="8" charset="0"/>
              <a:cs typeface="Tahoma" pitchFamily="8" charset="0"/>
            </a:endParaRPr>
          </a:p>
        </p:txBody>
      </p:sp>
      <p:sp>
        <p:nvSpPr>
          <p:cNvPr id="6891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219200" y="2057400"/>
            <a:ext cx="9753600" cy="1143000"/>
          </a:xfrm>
        </p:spPr>
        <p:txBody>
          <a:bodyPr/>
          <a:lstStyle>
            <a:lvl1pPr>
              <a:defRPr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8915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  <a:latin typeface="Tahoma"/>
                <a:cs typeface="Tahoma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fld id="{13B9B73C-3867-304D-ABA3-D6FEE1C2514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 Box 10"/>
          <p:cNvSpPr txBox="1">
            <a:spLocks noChangeArrowheads="1"/>
          </p:cNvSpPr>
          <p:nvPr userDrawn="1"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 err="1">
                <a:solidFill>
                  <a:srgbClr val="FFFFFF"/>
                </a:solidFill>
                <a:latin typeface="Tahoma"/>
                <a:cs typeface="Tahoma"/>
              </a:rPr>
              <a:t>www.leanuk.org</a:t>
            </a:r>
            <a:endParaRPr lang="en-GB" sz="1600" b="1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357134"/>
      </p:ext>
    </p:extLst>
  </p:cSld>
  <p:clrMapOvr>
    <a:masterClrMapping/>
  </p:clrMapOvr>
  <p:transition spd="med">
    <p:zoom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C57AA1-02A0-9F43-9822-62D2ECF37AD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730402"/>
      </p:ext>
    </p:extLst>
  </p:cSld>
  <p:clrMapOvr>
    <a:masterClrMapping/>
  </p:clrMapOvr>
  <p:transition spd="med">
    <p:zoom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1848933"/>
            <a:ext cx="10363200" cy="1362075"/>
          </a:xfrm>
        </p:spPr>
        <p:txBody>
          <a:bodyPr/>
          <a:lstStyle>
            <a:lvl1pPr algn="ctr">
              <a:defRPr sz="4133" b="1" cap="none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000000"/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16616"/>
            <a:ext cx="1117600" cy="339725"/>
          </a:xfrm>
          <a:ln/>
        </p:spPr>
        <p:txBody>
          <a:bodyPr/>
          <a:lstStyle>
            <a:lvl1pPr>
              <a:defRPr/>
            </a:lvl1pPr>
          </a:lstStyle>
          <a:p>
            <a:fld id="{36DF0846-C13C-2343-9EC6-CDDE83EBDC8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414062"/>
      </p:ext>
    </p:extLst>
  </p:cSld>
  <p:clrMapOvr>
    <a:masterClrMapping/>
  </p:clrMapOvr>
  <p:transition spd="med">
    <p:zoom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6927" y="1360713"/>
            <a:ext cx="5458991" cy="5092475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4997" y="1360713"/>
            <a:ext cx="5458991" cy="5092475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D52C64F-697D-7041-B90B-50904C326C86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259253"/>
      </p:ext>
    </p:extLst>
  </p:cSld>
  <p:clrMapOvr>
    <a:masterClrMapping/>
  </p:clrMapOvr>
  <p:transition spd="med"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59022"/>
            <a:ext cx="1117600" cy="339725"/>
          </a:xfrm>
          <a:ln/>
        </p:spPr>
        <p:txBody>
          <a:bodyPr/>
          <a:lstStyle>
            <a:lvl1pPr>
              <a:defRPr/>
            </a:lvl1pPr>
          </a:lstStyle>
          <a:p>
            <a:fld id="{AEE68D59-9A91-3F4F-9075-DA36E169F298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DE4962-4512-4257-9595-DBF3356B25EE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C22AF78-355D-4DBB-9F45-ADC9AA2C5D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52364"/>
      </p:ext>
    </p:extLst>
  </p:cSld>
  <p:clrMapOvr>
    <a:masterClrMapping/>
  </p:clrMapOvr>
  <p:transition spd="med">
    <p:zoom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ctr"/>
          <a:lstStyle>
            <a:lvl1pPr marL="0" indent="0">
              <a:buNone/>
              <a:defRPr sz="2667" b="1">
                <a:solidFill>
                  <a:srgbClr val="000000"/>
                </a:solidFill>
              </a:defRPr>
            </a:lvl1pPr>
            <a:lvl2pPr marL="519488" indent="0">
              <a:buNone/>
              <a:defRPr sz="2267" b="1"/>
            </a:lvl2pPr>
            <a:lvl3pPr marL="1038977" indent="0">
              <a:buNone/>
              <a:defRPr sz="2000" b="1"/>
            </a:lvl3pPr>
            <a:lvl4pPr marL="1558465" indent="0">
              <a:buNone/>
              <a:defRPr sz="1867" b="1"/>
            </a:lvl4pPr>
            <a:lvl5pPr marL="2077952" indent="0">
              <a:buNone/>
              <a:defRPr sz="1867" b="1"/>
            </a:lvl5pPr>
            <a:lvl6pPr marL="2597440" indent="0">
              <a:buNone/>
              <a:defRPr sz="1867" b="1"/>
            </a:lvl6pPr>
            <a:lvl7pPr marL="3116929" indent="0">
              <a:buNone/>
              <a:defRPr sz="1867" b="1"/>
            </a:lvl7pPr>
            <a:lvl8pPr marL="3636417" indent="0">
              <a:buNone/>
              <a:defRPr sz="1867" b="1"/>
            </a:lvl8pPr>
            <a:lvl9pPr marL="4155905" indent="0">
              <a:buNone/>
              <a:defRPr sz="18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667"/>
            </a:lvl1pPr>
            <a:lvl2pPr>
              <a:defRPr sz="2267"/>
            </a:lvl2pPr>
            <a:lvl3pPr>
              <a:defRPr sz="2000"/>
            </a:lvl3pPr>
            <a:lvl4pPr>
              <a:defRPr sz="1867"/>
            </a:lvl4pPr>
            <a:lvl5pPr>
              <a:defRPr sz="18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E68D59-9A91-3F4F-9075-DA36E169F298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966860"/>
      </p:ext>
    </p:extLst>
  </p:cSld>
  <p:clrMapOvr>
    <a:masterClrMapping/>
  </p:clrMapOvr>
  <p:transition spd="med">
    <p:zoom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27D89B-2B4D-5E40-9B6E-0EF488D49D3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685198"/>
      </p:ext>
    </p:extLst>
  </p:cSld>
  <p:clrMapOvr>
    <a:masterClrMapping/>
  </p:clrMapOvr>
  <p:transition spd="med">
    <p:zoom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853017"/>
      </p:ext>
    </p:extLst>
  </p:cSld>
  <p:clrMapOvr>
    <a:masterClrMapping/>
  </p:clrMapOvr>
  <p:transition spd="med">
    <p:zoom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23366" y="725674"/>
            <a:ext cx="2679356" cy="1647887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4" name="Rounded Rectangular Callout 3"/>
          <p:cNvSpPr/>
          <p:nvPr userDrawn="1"/>
        </p:nvSpPr>
        <p:spPr bwMode="auto">
          <a:xfrm>
            <a:off x="4930761" y="771030"/>
            <a:ext cx="2493289" cy="1496703"/>
          </a:xfrm>
          <a:prstGeom prst="wedgeRoundRectCallout">
            <a:avLst>
              <a:gd name="adj1" fmla="val -684"/>
              <a:gd name="adj2" fmla="val 73611"/>
              <a:gd name="adj3" fmla="val 16667"/>
            </a:avLst>
          </a:prstGeom>
          <a:solidFill>
            <a:srgbClr val="008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r>
              <a:rPr lang="en-US" sz="3600" dirty="0">
                <a:solidFill>
                  <a:srgbClr val="FFFFFF"/>
                </a:solidFill>
                <a:latin typeface="Tahoma"/>
                <a:cs typeface="Tahoma"/>
              </a:rPr>
              <a:t>Words in call out</a:t>
            </a:r>
          </a:p>
        </p:txBody>
      </p:sp>
      <p:sp>
        <p:nvSpPr>
          <p:cNvPr id="5" name="Right Arrow 4"/>
          <p:cNvSpPr/>
          <p:nvPr userDrawn="1"/>
        </p:nvSpPr>
        <p:spPr bwMode="auto">
          <a:xfrm>
            <a:off x="8559054" y="725674"/>
            <a:ext cx="2716569" cy="1300167"/>
          </a:xfrm>
          <a:prstGeom prst="rightArrow">
            <a:avLst/>
          </a:prstGeom>
          <a:solidFill>
            <a:srgbClr val="0000FF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060580" y="2902699"/>
            <a:ext cx="4167885" cy="65891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03900" tIns="51951" rIns="103900" bIns="51951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dirty="0">
                <a:solidFill>
                  <a:srgbClr val="000000"/>
                </a:solidFill>
                <a:latin typeface="Tahoma"/>
                <a:cs typeface="Tahoma"/>
              </a:rPr>
              <a:t>Text box with line</a:t>
            </a:r>
          </a:p>
        </p:txBody>
      </p:sp>
      <p:sp>
        <p:nvSpPr>
          <p:cNvPr id="9" name="Left Brace 8"/>
          <p:cNvSpPr/>
          <p:nvPr userDrawn="1"/>
        </p:nvSpPr>
        <p:spPr bwMode="auto">
          <a:xfrm>
            <a:off x="893119" y="4036564"/>
            <a:ext cx="707052" cy="1783949"/>
          </a:xfrm>
          <a:prstGeom prst="leftBrace">
            <a:avLst>
              <a:gd name="adj1" fmla="val 29902"/>
              <a:gd name="adj2" fmla="val 50000"/>
            </a:avLst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lg" len="lg"/>
          </a:ln>
          <a:effectLst/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endParaRPr lang="en-US" sz="3600" b="1" dirty="0">
              <a:solidFill>
                <a:srgbClr val="970000"/>
              </a:solidFill>
              <a:cs typeface="Arial" charset="0"/>
            </a:endParaRPr>
          </a:p>
        </p:txBody>
      </p:sp>
      <p:sp>
        <p:nvSpPr>
          <p:cNvPr id="11" name="Explosion 2 10"/>
          <p:cNvSpPr/>
          <p:nvPr userDrawn="1"/>
        </p:nvSpPr>
        <p:spPr bwMode="auto">
          <a:xfrm>
            <a:off x="1897879" y="3719080"/>
            <a:ext cx="4149280" cy="2449152"/>
          </a:xfrm>
          <a:prstGeom prst="irregularSeal2">
            <a:avLst/>
          </a:prstGeom>
          <a:solidFill>
            <a:srgbClr val="FF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algn="ctr" defTabSz="1038977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</a:pPr>
            <a:r>
              <a:rPr lang="en-US" sz="3600" dirty="0">
                <a:solidFill>
                  <a:srgbClr val="970000"/>
                </a:solidFill>
                <a:latin typeface="Tahoma"/>
                <a:cs typeface="Tahoma"/>
              </a:rPr>
              <a:t>Kaizen burs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6564656" y="2873073"/>
            <a:ext cx="4822608" cy="2310842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square" lIns="103900" tIns="51951" rIns="103900" bIns="51951">
            <a:spAutoFit/>
          </a:bodyPr>
          <a:lstStyle/>
          <a:p>
            <a:pPr marL="389616" indent="-389616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3200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844168" lvl="1" indent="-324680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0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6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1399732" lvl="2" indent="-339110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2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Third level</a:t>
            </a:r>
          </a:p>
          <a:p>
            <a:pPr marL="1883145" lvl="3" indent="-259744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2000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Fourth level</a:t>
            </a:r>
          </a:p>
          <a:p>
            <a:pPr marL="2359342" lvl="4" indent="-259744" defTabSz="1038977" eaLnBrk="0" fontAlgn="base" hangingPunct="0"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defRPr/>
            </a:pPr>
            <a:r>
              <a:rPr lang="en-US" sz="1867" kern="0" dirty="0">
                <a:solidFill>
                  <a:srgbClr val="000000"/>
                </a:solidFill>
                <a:latin typeface="Tahoma"/>
                <a:ea typeface="ＭＳ Ｐゴシック" charset="-128"/>
                <a:cs typeface="Tahoma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8264427"/>
      </p:ext>
    </p:extLst>
  </p:cSld>
  <p:clrMapOvr>
    <a:masterClrMapping/>
  </p:clrMapOvr>
  <p:transition spd="med">
    <p:zoom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49"/>
            <a:ext cx="4011084" cy="1162051"/>
          </a:xfrm>
        </p:spPr>
        <p:txBody>
          <a:bodyPr anchor="b"/>
          <a:lstStyle>
            <a:lvl1pPr algn="l">
              <a:defRPr sz="22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615219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1867"/>
            </a:lvl5pPr>
            <a:lvl6pPr>
              <a:defRPr sz="2267"/>
            </a:lvl6pPr>
            <a:lvl7pPr>
              <a:defRPr sz="2267"/>
            </a:lvl7pPr>
            <a:lvl8pPr>
              <a:defRPr sz="2267"/>
            </a:lvl8pPr>
            <a:lvl9pPr>
              <a:defRPr sz="22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5005259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64BF9D-09F1-0745-892E-F082D0B8385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063383"/>
      </p:ext>
    </p:extLst>
  </p:cSld>
  <p:clrMapOvr>
    <a:masterClrMapping/>
  </p:clrMapOvr>
  <p:transition spd="med">
    <p:zoom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19488" indent="0">
              <a:buNone/>
              <a:defRPr sz="3200"/>
            </a:lvl2pPr>
            <a:lvl3pPr marL="1038977" indent="0">
              <a:buNone/>
              <a:defRPr sz="2667"/>
            </a:lvl3pPr>
            <a:lvl4pPr marL="1558465" indent="0">
              <a:buNone/>
              <a:defRPr sz="2267"/>
            </a:lvl4pPr>
            <a:lvl5pPr marL="2077952" indent="0">
              <a:buNone/>
              <a:defRPr sz="2267"/>
            </a:lvl5pPr>
            <a:lvl6pPr marL="2597440" indent="0">
              <a:buNone/>
              <a:defRPr sz="2267"/>
            </a:lvl6pPr>
            <a:lvl7pPr marL="3116929" indent="0">
              <a:buNone/>
              <a:defRPr sz="2267"/>
            </a:lvl7pPr>
            <a:lvl8pPr marL="3636417" indent="0">
              <a:buNone/>
              <a:defRPr sz="2267"/>
            </a:lvl8pPr>
            <a:lvl9pPr marL="4155905" indent="0">
              <a:buNone/>
              <a:defRPr sz="2267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AFCE50D-FBB8-7243-BB86-E63354E10F9F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57559"/>
      </p:ext>
    </p:extLst>
  </p:cSld>
  <p:clrMapOvr>
    <a:masterClrMapping/>
  </p:clrMapOvr>
  <p:transition spd="med">
    <p:zoom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6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54CA9A0-52B4-4DE9-B7FC-EE35F75D463D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1" y="6357939"/>
            <a:ext cx="1714500" cy="214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11E1B60-BB9E-4343-AF63-F6765BB6A496}" type="slidenum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5392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A5B7F-CB24-44DB-B257-076E77A67FC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3765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ChangeArrowheads="1"/>
          </p:cNvSpPr>
          <p:nvPr/>
        </p:nvSpPr>
        <p:spPr bwMode="gray">
          <a:xfrm>
            <a:off x="0" y="6267450"/>
            <a:ext cx="12192000" cy="5905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3" name="Rectangle 9"/>
          <p:cNvSpPr>
            <a:spLocks noChangeArrowheads="1"/>
          </p:cNvSpPr>
          <p:nvPr/>
        </p:nvSpPr>
        <p:spPr bwMode="gray">
          <a:xfrm>
            <a:off x="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4" name="Rectangle 10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5" name="Rectangle 11"/>
          <p:cNvSpPr>
            <a:spLocks noChangeArrowheads="1"/>
          </p:cNvSpPr>
          <p:nvPr/>
        </p:nvSpPr>
        <p:spPr bwMode="gray">
          <a:xfrm>
            <a:off x="0" y="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pic>
        <p:nvPicPr>
          <p:cNvPr id="7" name="Picture 19" descr="logo_do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51" y="6340475"/>
            <a:ext cx="224154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27"/>
          <p:cNvGrpSpPr>
            <a:grpSpLocks/>
          </p:cNvGrpSpPr>
          <p:nvPr/>
        </p:nvGrpSpPr>
        <p:grpSpPr bwMode="auto">
          <a:xfrm>
            <a:off x="311151" y="6264275"/>
            <a:ext cx="11580283" cy="50800"/>
            <a:chOff x="143" y="3695"/>
            <a:chExt cx="5471" cy="32"/>
          </a:xfrm>
        </p:grpSpPr>
        <p:sp>
          <p:nvSpPr>
            <p:cNvPr id="9" name="Rectangle 23"/>
            <p:cNvSpPr>
              <a:spLocks noChangeArrowheads="1"/>
            </p:cNvSpPr>
            <p:nvPr/>
          </p:nvSpPr>
          <p:spPr bwMode="auto">
            <a:xfrm>
              <a:off x="143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5087"/>
                </a:gs>
                <a:gs pos="100000">
                  <a:srgbClr val="00A1D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  <p:sp>
          <p:nvSpPr>
            <p:cNvPr id="10" name="Rectangle 26"/>
            <p:cNvSpPr>
              <a:spLocks noChangeArrowheads="1"/>
            </p:cNvSpPr>
            <p:nvPr userDrawn="1"/>
          </p:nvSpPr>
          <p:spPr bwMode="auto">
            <a:xfrm>
              <a:off x="2877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A1D4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</p:grpSp>
      <p:pic>
        <p:nvPicPr>
          <p:cNvPr id="11" name="Picture 15" descr="NEW_BOXED__contour___Zodiac___FONT_thinnest.png"/>
          <p:cNvPicPr>
            <a:picLocks noChangeAspect="1"/>
          </p:cNvPicPr>
          <p:nvPr userDrawn="1"/>
        </p:nvPicPr>
        <p:blipFill>
          <a:blip r:embed="rId3">
            <a:lum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2778" r="4173" b="24141"/>
          <a:stretch>
            <a:fillRect/>
          </a:stretch>
        </p:blipFill>
        <p:spPr bwMode="auto">
          <a:xfrm>
            <a:off x="11154836" y="58739"/>
            <a:ext cx="96943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3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664384-9FBA-42D0-B021-F0BA7E008123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3" y="6357939"/>
            <a:ext cx="1714500" cy="214312"/>
          </a:xfrm>
        </p:spPr>
        <p:txBody>
          <a:bodyPr/>
          <a:lstStyle>
            <a:lvl1pPr algn="l">
              <a:defRPr sz="900" b="1">
                <a:solidFill>
                  <a:srgbClr val="71A1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DD5A3CD-5302-45C2-AF6B-CD5410B4D9EF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9889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ChangeArrowheads="1"/>
          </p:cNvSpPr>
          <p:nvPr/>
        </p:nvSpPr>
        <p:spPr bwMode="gray">
          <a:xfrm>
            <a:off x="0" y="6267450"/>
            <a:ext cx="12192000" cy="59055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gray">
          <a:xfrm>
            <a:off x="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6" name="Rectangle 10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7" name="Rectangle 11"/>
          <p:cNvSpPr>
            <a:spLocks noChangeArrowheads="1"/>
          </p:cNvSpPr>
          <p:nvPr/>
        </p:nvSpPr>
        <p:spPr bwMode="gray">
          <a:xfrm>
            <a:off x="0" y="0"/>
            <a:ext cx="12192000" cy="2286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sp>
        <p:nvSpPr>
          <p:cNvPr id="9" name="Rectangle 17"/>
          <p:cNvSpPr>
            <a:spLocks noChangeArrowheads="1"/>
          </p:cNvSpPr>
          <p:nvPr/>
        </p:nvSpPr>
        <p:spPr bwMode="gray">
          <a:xfrm>
            <a:off x="11887200" y="0"/>
            <a:ext cx="3048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fr-FR" altLang="en-US" sz="2100" b="1">
              <a:solidFill>
                <a:srgbClr val="970000"/>
              </a:solidFill>
              <a:latin typeface="Arial" panose="020B0604020202020204" pitchFamily="34" charset="0"/>
              <a:cs typeface="Arial" pitchFamily="8" charset="0"/>
            </a:endParaRPr>
          </a:p>
        </p:txBody>
      </p:sp>
      <p:pic>
        <p:nvPicPr>
          <p:cNvPr id="10" name="Picture 19" descr="logo_do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451" y="6340475"/>
            <a:ext cx="2241549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27"/>
          <p:cNvGrpSpPr>
            <a:grpSpLocks/>
          </p:cNvGrpSpPr>
          <p:nvPr/>
        </p:nvGrpSpPr>
        <p:grpSpPr bwMode="auto">
          <a:xfrm>
            <a:off x="311151" y="6264275"/>
            <a:ext cx="11580283" cy="50800"/>
            <a:chOff x="143" y="3695"/>
            <a:chExt cx="5471" cy="32"/>
          </a:xfrm>
        </p:grpSpPr>
        <p:sp>
          <p:nvSpPr>
            <p:cNvPr id="12" name="Rectangle 23"/>
            <p:cNvSpPr>
              <a:spLocks noChangeArrowheads="1"/>
            </p:cNvSpPr>
            <p:nvPr/>
          </p:nvSpPr>
          <p:spPr bwMode="auto">
            <a:xfrm>
              <a:off x="143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5087"/>
                </a:gs>
                <a:gs pos="100000">
                  <a:srgbClr val="00A1D4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  <p:sp>
          <p:nvSpPr>
            <p:cNvPr id="13" name="Rectangle 26"/>
            <p:cNvSpPr>
              <a:spLocks noChangeArrowheads="1"/>
            </p:cNvSpPr>
            <p:nvPr userDrawn="1"/>
          </p:nvSpPr>
          <p:spPr bwMode="auto">
            <a:xfrm>
              <a:off x="2877" y="3695"/>
              <a:ext cx="2737" cy="32"/>
            </a:xfrm>
            <a:prstGeom prst="rect">
              <a:avLst/>
            </a:prstGeom>
            <a:gradFill rotWithShape="1">
              <a:gsLst>
                <a:gs pos="0">
                  <a:srgbClr val="00A1D4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1pPr>
              <a:lvl2pPr marL="742950" indent="-28575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2pPr>
              <a:lvl3pPr marL="11430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3pPr>
              <a:lvl4pPr marL="16002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4pPr>
              <a:lvl5pPr marL="2057400" indent="-228600" eaLnBrk="0" hangingPunct="0"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 Narrow" panose="020B060602020203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fr-FR" altLang="en-US" sz="2100" b="1">
                <a:solidFill>
                  <a:srgbClr val="970000"/>
                </a:solidFill>
                <a:latin typeface="Arial" panose="020B0604020202020204" pitchFamily="34" charset="0"/>
                <a:cs typeface="Arial" pitchFamily="8" charset="0"/>
              </a:endParaRPr>
            </a:p>
          </p:txBody>
        </p:sp>
      </p:grpSp>
      <p:pic>
        <p:nvPicPr>
          <p:cNvPr id="14" name="Picture 15" descr="NEW_BOXED__contour___Zodiac___FONT_thinnest.png"/>
          <p:cNvPicPr>
            <a:picLocks noChangeAspect="1"/>
          </p:cNvPicPr>
          <p:nvPr userDrawn="1"/>
        </p:nvPicPr>
        <p:blipFill>
          <a:blip r:embed="rId3">
            <a:lum contrast="-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4" t="12778" r="4173" b="24141"/>
          <a:stretch>
            <a:fillRect/>
          </a:stretch>
        </p:blipFill>
        <p:spPr bwMode="auto">
          <a:xfrm>
            <a:off x="11154836" y="58739"/>
            <a:ext cx="96943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321735" y="6500814"/>
            <a:ext cx="8007351" cy="2095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16" name="Espace réservé de la date 14"/>
          <p:cNvSpPr>
            <a:spLocks noGrp="1"/>
          </p:cNvSpPr>
          <p:nvPr>
            <p:ph type="dt" sz="half" idx="11"/>
          </p:nvPr>
        </p:nvSpPr>
        <p:spPr>
          <a:xfrm>
            <a:off x="1449919" y="6357939"/>
            <a:ext cx="2169583" cy="214312"/>
          </a:xfrm>
          <a:prstGeom prst="rect">
            <a:avLst/>
          </a:prstGeom>
        </p:spPr>
        <p:txBody>
          <a:bodyPr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b="1">
                <a:solidFill>
                  <a:schemeClr val="tx2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7E33BD8-BB52-4429-8C5C-CEC4F2537B05}" type="datetime1">
              <a:rPr lang="en-GB">
                <a:solidFill>
                  <a:srgbClr val="808080">
                    <a:lumMod val="50000"/>
                    <a:lumOff val="50000"/>
                  </a:srgbClr>
                </a:solidFill>
              </a:rPr>
              <a:pPr>
                <a:defRPr/>
              </a:pPr>
              <a:t>24/09/2020</a:t>
            </a:fld>
            <a:endParaRPr lang="en-GB">
              <a:solidFill>
                <a:srgbClr val="80808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>
          <a:xfrm>
            <a:off x="285753" y="6357939"/>
            <a:ext cx="1714500" cy="214312"/>
          </a:xfrm>
        </p:spPr>
        <p:txBody>
          <a:bodyPr/>
          <a:lstStyle>
            <a:lvl1pPr algn="l">
              <a:defRPr sz="900" b="1">
                <a:solidFill>
                  <a:srgbClr val="71A1D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2BCC350-CA2C-42AE-AF4A-48C371554FC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1997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27D89B-2B4D-5E40-9B6E-0EF488D49D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380026"/>
      </p:ext>
    </p:extLst>
  </p:cSld>
  <p:clrMapOvr>
    <a:masterClrMapping/>
  </p:clrMapOvr>
  <p:transition spd="med">
    <p:zoom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600" y="0"/>
            <a:ext cx="9652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219201"/>
            <a:ext cx="11582400" cy="262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4000501"/>
            <a:ext cx="11582400" cy="2628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0" y="6629400"/>
            <a:ext cx="406400" cy="228600"/>
          </a:xfrm>
        </p:spPr>
        <p:txBody>
          <a:bodyPr/>
          <a:lstStyle>
            <a:lvl1pPr>
              <a:defRPr/>
            </a:lvl1pPr>
          </a:lstStyle>
          <a:p>
            <a:fld id="{47CAC3C1-2BD7-4ACA-A0A9-11498B72E41A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7756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117600" y="488950"/>
            <a:ext cx="10464800" cy="596423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219200" y="6553202"/>
            <a:ext cx="54864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3600" b="1">
                <a:solidFill>
                  <a:srgbClr val="970000"/>
                </a:solidFill>
                <a:cs typeface="Arial" pitchFamily="8" charset="0"/>
              </a:rPr>
              <a:t>Lean Enterprise Academy</a:t>
            </a:r>
            <a:endParaRPr lang="en-GB" sz="3600" b="1">
              <a:solidFill>
                <a:srgbClr val="970000"/>
              </a:solidFill>
              <a:cs typeface="Arial" pitchFamily="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0" y="6518276"/>
            <a:ext cx="1117600" cy="339725"/>
          </a:xfrm>
        </p:spPr>
        <p:txBody>
          <a:bodyPr/>
          <a:lstStyle>
            <a:lvl1pPr>
              <a:defRPr smtClean="0"/>
            </a:lvl1pPr>
          </a:lstStyle>
          <a:p>
            <a:fld id="{C6C3EC27-BF2A-5D48-8714-A162EC98A8F5}" type="slidenum">
              <a:rPr lang="en-GB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543285"/>
      </p:ext>
    </p:extLst>
  </p:cSld>
  <p:clrMapOvr>
    <a:masterClrMapping/>
  </p:clrMapOvr>
  <p:transition>
    <p:zoom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90513"/>
            <a:ext cx="11582400" cy="990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12800" y="1752600"/>
            <a:ext cx="5232400" cy="373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00" y="1752600"/>
            <a:ext cx="5232400" cy="373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304802" y="6248401"/>
            <a:ext cx="783167" cy="48895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EBEF5710-2ABF-46BE-B449-503B66F63378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4035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"/>
          <p:cNvSpPr>
            <a:spLocks noChangeArrowheads="1"/>
          </p:cNvSpPr>
          <p:nvPr userDrawn="1"/>
        </p:nvSpPr>
        <p:spPr bwMode="auto">
          <a:xfrm>
            <a:off x="0" y="6513518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4267" b="1" dirty="0">
              <a:solidFill>
                <a:srgbClr val="FFFFF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21934" y="1214440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3731528" y="4995866"/>
            <a:ext cx="4767074" cy="995272"/>
          </a:xfrm>
          <a:prstGeom prst="rect">
            <a:avLst/>
          </a:prstGeom>
          <a:noFill/>
          <a:ln w="28575" algn="ctr">
            <a:noFill/>
            <a:miter lim="800000"/>
            <a:headEnd type="none" w="sm" len="sm"/>
            <a:tailEnd type="none" w="lg" len="lg"/>
          </a:ln>
          <a:effectLst/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buNone/>
              <a:defRPr/>
            </a:pPr>
            <a:r>
              <a:rPr lang="en-GB" sz="2667" dirty="0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vid Brunt and Darren Walsh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buNone/>
              <a:defRPr/>
            </a:pPr>
            <a:r>
              <a:rPr lang="en-GB" sz="2667" dirty="0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4</a:t>
            </a:r>
            <a:r>
              <a:rPr lang="en-GB" sz="2667" baseline="30000" dirty="0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</a:t>
            </a:r>
            <a:r>
              <a:rPr lang="en-GB" sz="2667" dirty="0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May 2016</a:t>
            </a:r>
          </a:p>
        </p:txBody>
      </p:sp>
      <p:sp>
        <p:nvSpPr>
          <p:cNvPr id="689157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219200" y="2057400"/>
            <a:ext cx="9753600" cy="1143000"/>
          </a:xfrm>
        </p:spPr>
        <p:txBody>
          <a:bodyPr/>
          <a:lstStyle>
            <a:lvl1pPr>
              <a:defRPr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689158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53200"/>
            <a:ext cx="1016000" cy="3048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E502DD22-F93E-D74A-A644-D113DC1918C5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auto">
          <a:xfrm>
            <a:off x="0" y="6513518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4267" b="1" dirty="0">
              <a:solidFill>
                <a:srgbClr val="00009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 userDrawn="1"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leanuk.org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6" y="6239347"/>
            <a:ext cx="1185940" cy="618652"/>
          </a:xfrm>
          <a:prstGeom prst="rect">
            <a:avLst/>
          </a:prstGeom>
        </p:spPr>
      </p:pic>
      <p:sp>
        <p:nvSpPr>
          <p:cNvPr id="14" name="Rectangle 8"/>
          <p:cNvSpPr txBox="1">
            <a:spLocks noChangeArrowheads="1"/>
          </p:cNvSpPr>
          <p:nvPr userDrawn="1"/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900" tIns="51951" rIns="103900" bIns="51951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 rtl="0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defRPr sz="1200" b="1" kern="12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algn="ctr" rtl="0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2pPr>
            <a:lvl3pPr marL="914400" algn="ctr" rtl="0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3pPr>
            <a:lvl4pPr marL="1371600" algn="ctr" rtl="0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4pPr>
            <a:lvl5pPr marL="1828800" algn="ctr" rtl="0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5pPr>
            <a:lvl6pPr marL="2286000" algn="l" defTabSz="457200" rtl="0" eaLnBrk="1" latinLnBrk="0" hangingPunct="1"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6pPr>
            <a:lvl7pPr marL="2743200" algn="l" defTabSz="457200" rtl="0" eaLnBrk="1" latinLnBrk="0" hangingPunct="1"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7pPr>
            <a:lvl8pPr marL="3200400" algn="l" defTabSz="457200" rtl="0" eaLnBrk="1" latinLnBrk="0" hangingPunct="1"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8pPr>
            <a:lvl9pPr marL="3657600" algn="l" defTabSz="457200" rtl="0" eaLnBrk="1" latinLnBrk="0" hangingPunct="1">
              <a:defRPr sz="3200" b="1" kern="1200">
                <a:solidFill>
                  <a:schemeClr val="tx1"/>
                </a:solidFill>
                <a:latin typeface="Verdana" charset="0"/>
                <a:ea typeface="Arial" charset="0"/>
                <a:cs typeface="Arial" charset="0"/>
              </a:defRPr>
            </a:lvl9pPr>
          </a:lstStyle>
          <a:p>
            <a:fld id="{13B9B73C-3867-304D-ABA3-D6FEE1C2514C}" type="slidenum">
              <a:rPr lang="en-US" sz="1600" smtClean="0">
                <a:solidFill>
                  <a:srgbClr val="FFFFFF"/>
                </a:solidFill>
              </a:rPr>
              <a:pPr/>
              <a:t>‹#›</a:t>
            </a:fld>
            <a:endParaRPr lang="en-US" sz="16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318992"/>
      </p:ext>
    </p:extLst>
  </p:cSld>
  <p:clrMapOvr>
    <a:masterClrMapping/>
  </p:clrMapOvr>
  <p:transition spd="med">
    <p:zoom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861E6059-3B98-4E4A-B175-DDA52F530F9F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8969643"/>
      </p:ext>
    </p:extLst>
  </p:cSld>
  <p:clrMapOvr>
    <a:masterClrMapping/>
  </p:clrMapOvr>
  <p:transition spd="med">
    <p:zoom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1848933"/>
            <a:ext cx="10363200" cy="1362075"/>
          </a:xfrm>
        </p:spPr>
        <p:txBody>
          <a:bodyPr/>
          <a:lstStyle>
            <a:lvl1pPr algn="ctr">
              <a:defRPr sz="4800" b="1" cap="none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438525"/>
            <a:ext cx="8534400" cy="11430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1" i="1">
                <a:solidFill>
                  <a:srgbClr val="9901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97C79C15-0F38-C744-B0EB-1936309519DF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10775"/>
      </p:ext>
    </p:extLst>
  </p:cSld>
  <p:clrMapOvr>
    <a:masterClrMapping/>
  </p:clrMapOvr>
  <p:transition spd="med">
    <p:zoom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6934" y="1360713"/>
            <a:ext cx="5458991" cy="5092475"/>
          </a:xfrm>
        </p:spPr>
        <p:txBody>
          <a:bodyPr>
            <a:normAutofit/>
          </a:bodyPr>
          <a:lstStyle>
            <a:lvl1pPr>
              <a:defRPr sz="37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266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35002" y="1360713"/>
            <a:ext cx="5458991" cy="5092475"/>
          </a:xfrm>
        </p:spPr>
        <p:txBody>
          <a:bodyPr/>
          <a:lstStyle>
            <a:lvl1pPr>
              <a:defRPr sz="37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266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AF87EF61-67AB-684E-BD3E-5E52D5A2C3B4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403681"/>
      </p:ext>
    </p:extLst>
  </p:cSld>
  <p:clrMapOvr>
    <a:masterClrMapping/>
  </p:clrMapOvr>
  <p:transition spd="med">
    <p:zoom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266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21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21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3"/>
          </a:xfrm>
        </p:spPr>
        <p:txBody>
          <a:bodyPr anchor="ctr"/>
          <a:lstStyle>
            <a:lvl1pPr marL="0" indent="0">
              <a:buNone/>
              <a:defRPr sz="3200" b="1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2667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24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21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2133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1D810D8B-787C-2544-8855-096950B1912A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117438"/>
      </p:ext>
    </p:extLst>
  </p:cSld>
  <p:clrMapOvr>
    <a:masterClrMapping/>
  </p:clrMapOvr>
  <p:transition spd="med">
    <p:zoom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0E6717F8-DD17-9040-A957-9002FC52870B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716789"/>
      </p:ext>
    </p:extLst>
  </p:cSld>
  <p:clrMapOvr>
    <a:masterClrMapping/>
  </p:clrMapOvr>
  <p:transition spd="med">
    <p:zoom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>
              <a:defRPr/>
            </a:pPr>
            <a:fld id="{7C3B00A3-B1A8-D445-9F98-DDE744854B35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0783939"/>
      </p:ext>
    </p:extLst>
  </p:cSld>
  <p:clrMapOvr>
    <a:masterClrMapping/>
  </p:clrMapOvr>
  <p:transition spd="med"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74DA22C-9A5B-48DF-B090-C75C54EE8259}"/>
              </a:ext>
            </a:extLst>
          </p:cNvPr>
          <p:cNvSpPr/>
          <p:nvPr userDrawn="1"/>
        </p:nvSpPr>
        <p:spPr bwMode="auto">
          <a:xfrm>
            <a:off x="3533" y="6609300"/>
            <a:ext cx="12188467" cy="229776"/>
          </a:xfrm>
          <a:prstGeom prst="rect">
            <a:avLst/>
          </a:prstGeom>
          <a:solidFill>
            <a:schemeClr val="tx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sm" len="sm"/>
            <a:tailEnd type="triangle" w="lg" len="lg"/>
          </a:ln>
          <a:effectLst/>
        </p:spPr>
        <p:txBody>
          <a:bodyPr vert="horz" wrap="square" lIns="162560" tIns="81280" rIns="162560" bIns="81280" numCol="1" rtlCol="0" anchor="t" anchorCtr="0" compatLnSpc="1">
            <a:prstTxWarp prst="textNoShape">
              <a:avLst/>
            </a:prstTxWarp>
          </a:bodyPr>
          <a:lstStyle/>
          <a:p>
            <a:pPr algn="ctr" defTabSz="1625519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</a:pPr>
            <a:endParaRPr lang="en-GB" sz="5689" dirty="0">
              <a:solidFill>
                <a:srgbClr val="970000"/>
              </a:solidFill>
              <a:latin typeface="Tahoma"/>
              <a:cs typeface="Tahoma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F35846B-780B-42F1-9423-66D947004A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341824"/>
      </p:ext>
    </p:extLst>
  </p:cSld>
  <p:clrMapOvr>
    <a:masterClrMapping/>
  </p:clrMapOvr>
  <p:transition spd="med">
    <p:zoom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6218896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5"/>
            <a:ext cx="4011084" cy="5074487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D99E97-F169-4F46-866C-1625460AE181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345658"/>
      </p:ext>
    </p:extLst>
  </p:cSld>
  <p:clrMapOvr>
    <a:masterClrMapping/>
  </p:clrMapOvr>
  <p:transition spd="med">
    <p:zoom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>
                <a:solidFill>
                  <a:srgbClr val="9901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>
                <a:solidFill>
                  <a:srgbClr val="990100"/>
                </a:solidFill>
              </a:defRPr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</p:spPr>
        <p:txBody>
          <a:bodyPr/>
          <a:lstStyle>
            <a:lvl1pPr marL="0" indent="0">
              <a:buNone/>
              <a:defRPr sz="1867">
                <a:solidFill>
                  <a:srgbClr val="990100"/>
                </a:solidFill>
              </a:defRPr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0" y="6510276"/>
            <a:ext cx="1117600" cy="3397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604C720-7A3F-4C40-908A-B176B6729B01}" type="slidenum">
              <a:rPr lang="en-GB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13620"/>
      </p:ext>
    </p:extLst>
  </p:cSld>
  <p:clrMapOvr>
    <a:masterClrMapping/>
  </p:clrMapOvr>
  <p:transition spd="med">
    <p:zoom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40399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984245"/>
            <a:ext cx="8615680" cy="1618132"/>
          </a:xfrm>
        </p:spPr>
        <p:txBody>
          <a:bodyPr>
            <a:noAutofit/>
          </a:bodyPr>
          <a:lstStyle>
            <a:lvl1pPr>
              <a:defRPr sz="6000" b="1" i="0" cap="none" spc="-150" baseline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6304680"/>
            <a:ext cx="2744788" cy="304800"/>
          </a:xfrm>
        </p:spPr>
        <p:txBody>
          <a:bodyPr>
            <a:normAutofit/>
          </a:bodyPr>
          <a:lstStyle>
            <a:lvl1pPr>
              <a:defRPr sz="1400" b="0" i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5147980"/>
            <a:ext cx="3962400" cy="304800"/>
          </a:xfrm>
        </p:spPr>
        <p:txBody>
          <a:bodyPr>
            <a:normAutofit/>
          </a:bodyPr>
          <a:lstStyle>
            <a:lvl1pPr>
              <a:defRPr sz="1800" b="1" i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452780"/>
            <a:ext cx="3962400" cy="304800"/>
          </a:xfrm>
        </p:spPr>
        <p:txBody>
          <a:bodyPr>
            <a:normAutofit/>
          </a:bodyPr>
          <a:lstStyle>
            <a:lvl1pPr>
              <a:defRPr sz="1600" b="0" i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063" y="6304680"/>
            <a:ext cx="1600201" cy="360406"/>
          </a:xfrm>
          <a:prstGeom prst="rect">
            <a:avLst/>
          </a:prstGeom>
        </p:spPr>
      </p:pic>
      <p:sp>
        <p:nvSpPr>
          <p:cNvPr id="19" name="Oval 18"/>
          <p:cNvSpPr/>
          <p:nvPr userDrawn="1"/>
        </p:nvSpPr>
        <p:spPr>
          <a:xfrm>
            <a:off x="-241739" y="2183505"/>
            <a:ext cx="491358" cy="491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b="1" dirty="0">
              <a:solidFill>
                <a:srgbClr val="FFFFFF"/>
              </a:solidFill>
              <a:latin typeface="Formular" charset="0"/>
              <a:ea typeface="Formular" charset="0"/>
              <a:cs typeface="Formular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764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at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 userDrawn="1"/>
        </p:nvSpPr>
        <p:spPr>
          <a:xfrm flipH="1">
            <a:off x="-233992" y="587269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A87D671-CAB2-A94C-AD70-3F2359CFA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905000"/>
            <a:ext cx="10969246" cy="371061"/>
          </a:xfrm>
        </p:spPr>
        <p:txBody>
          <a:bodyPr bIns="182880">
            <a:noAutofit/>
          </a:bodyPr>
          <a:lstStyle>
            <a:lvl1pPr>
              <a:defRPr sz="24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  <a:lvl2pPr>
              <a:defRPr sz="16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2pPr>
            <a:lvl3pPr>
              <a:defRPr sz="24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3pPr>
            <a:lvl4pPr>
              <a:defRPr sz="18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4pPr>
            <a:lvl5pPr>
              <a:defRPr sz="12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41ADC9-62ED-AA4C-9DA3-96485A6828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600" y="2374900"/>
            <a:ext cx="10969625" cy="319088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880ABC-810D-C448-A7DD-315D79F9BF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3041650"/>
            <a:ext cx="10969625" cy="307975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en-US" dirty="0"/>
              <a:t>Copy 1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8A7EAF1-3751-BD4C-83AF-BEA368F1F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6835"/>
            <a:ext cx="10969246" cy="1173853"/>
          </a:xfrm>
          <a:prstGeom prst="rect">
            <a:avLst/>
          </a:prstGeom>
        </p:spPr>
        <p:txBody>
          <a:bodyPr/>
          <a:lstStyle>
            <a:lvl1pPr algn="l">
              <a:defRPr sz="3200" b="1" spc="-1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D43AB22-8FB0-4B46-A0E9-7D091D7963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3489325"/>
            <a:ext cx="10969625" cy="287338"/>
          </a:xfrm>
        </p:spPr>
        <p:txBody>
          <a:bodyPr>
            <a:noAutofit/>
          </a:bodyPr>
          <a:lstStyle>
            <a:lvl1pPr>
              <a:defRPr sz="1200" b="0"/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opy 2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3106860-2F44-144A-98E3-5B31753B95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" y="3856038"/>
            <a:ext cx="10969625" cy="804862"/>
          </a:xfrm>
        </p:spPr>
        <p:txBody>
          <a:bodyPr>
            <a:normAutofit/>
          </a:bodyPr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/>
            </a:lvl1pPr>
          </a:lstStyle>
          <a:p>
            <a:pPr lvl="0"/>
            <a:r>
              <a:rPr lang="en-US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24083505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eat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2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 userDrawn="1"/>
        </p:nvSpPr>
        <p:spPr>
          <a:xfrm flipH="1">
            <a:off x="-233992" y="587269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8A7EAF1-3751-BD4C-83AF-BEA368F1FF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16835"/>
            <a:ext cx="10969246" cy="1173853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yle Elements – For Reference Only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E9574EB-3D65-6543-9BC6-02EC808C7E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65575" y="6421438"/>
            <a:ext cx="3975100" cy="436562"/>
          </a:xfrm>
        </p:spPr>
        <p:txBody>
          <a:bodyPr>
            <a:normAutofit/>
          </a:bodyPr>
          <a:lstStyle>
            <a:lvl1pPr algn="ctr"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ation Name • Date • Confidentia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BA65895-6493-C94C-8377-AB3DDE97FB61}"/>
              </a:ext>
            </a:extLst>
          </p:cNvPr>
          <p:cNvCxnSpPr>
            <a:cxnSpLocks/>
          </p:cNvCxnSpPr>
          <p:nvPr userDrawn="1"/>
        </p:nvCxnSpPr>
        <p:spPr>
          <a:xfrm>
            <a:off x="609600" y="2186609"/>
            <a:ext cx="10969246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144AECE0-861E-0945-B622-51B72A4B9C9D}"/>
              </a:ext>
            </a:extLst>
          </p:cNvPr>
          <p:cNvSpPr/>
          <p:nvPr userDrawn="1"/>
        </p:nvSpPr>
        <p:spPr>
          <a:xfrm flipH="1">
            <a:off x="773174" y="2558530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A0BDD2A-CE6F-D749-BB47-063D7312CD90}"/>
              </a:ext>
            </a:extLst>
          </p:cNvPr>
          <p:cNvSpPr/>
          <p:nvPr userDrawn="1"/>
        </p:nvSpPr>
        <p:spPr>
          <a:xfrm flipH="1">
            <a:off x="1299948" y="2558530"/>
            <a:ext cx="467984" cy="45224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79F25BA-8A93-A545-861E-378A2CE04157}"/>
              </a:ext>
            </a:extLst>
          </p:cNvPr>
          <p:cNvSpPr/>
          <p:nvPr userDrawn="1"/>
        </p:nvSpPr>
        <p:spPr>
          <a:xfrm flipH="1">
            <a:off x="1826722" y="2558530"/>
            <a:ext cx="467984" cy="45224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9" name="Freeform 31">
            <a:extLst>
              <a:ext uri="{FF2B5EF4-FFF2-40B4-BE49-F238E27FC236}">
                <a16:creationId xmlns:a16="http://schemas.microsoft.com/office/drawing/2014/main" id="{591E5C02-4DF5-8E47-B46A-8A7C37368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73174" y="3484442"/>
            <a:ext cx="818673" cy="819582"/>
          </a:xfrm>
          <a:custGeom>
            <a:avLst/>
            <a:gdLst>
              <a:gd name="T0" fmla="*/ 1408 w 1652"/>
              <a:gd name="T1" fmla="*/ 241 h 1652"/>
              <a:gd name="T2" fmla="*/ 1227 w 1652"/>
              <a:gd name="T3" fmla="*/ 278 h 1652"/>
              <a:gd name="T4" fmla="*/ 1189 w 1652"/>
              <a:gd name="T5" fmla="*/ 209 h 1652"/>
              <a:gd name="T6" fmla="*/ 882 w 1652"/>
              <a:gd name="T7" fmla="*/ 372 h 1652"/>
              <a:gd name="T8" fmla="*/ 1184 w 1652"/>
              <a:gd name="T9" fmla="*/ 295 h 1652"/>
              <a:gd name="T10" fmla="*/ 909 w 1652"/>
              <a:gd name="T11" fmla="*/ 4 h 1652"/>
              <a:gd name="T12" fmla="*/ 848 w 1652"/>
              <a:gd name="T13" fmla="*/ 338 h 1652"/>
              <a:gd name="T14" fmla="*/ 804 w 1652"/>
              <a:gd name="T15" fmla="*/ 452 h 1652"/>
              <a:gd name="T16" fmla="*/ 475 w 1652"/>
              <a:gd name="T17" fmla="*/ 375 h 1652"/>
              <a:gd name="T18" fmla="*/ 362 w 1652"/>
              <a:gd name="T19" fmla="*/ 770 h 1652"/>
              <a:gd name="T20" fmla="*/ 769 w 1652"/>
              <a:gd name="T21" fmla="*/ 804 h 1652"/>
              <a:gd name="T22" fmla="*/ 804 w 1652"/>
              <a:gd name="T23" fmla="*/ 452 h 1652"/>
              <a:gd name="T24" fmla="*/ 1177 w 1652"/>
              <a:gd name="T25" fmla="*/ 375 h 1652"/>
              <a:gd name="T26" fmla="*/ 848 w 1652"/>
              <a:gd name="T27" fmla="*/ 452 h 1652"/>
              <a:gd name="T28" fmla="*/ 883 w 1652"/>
              <a:gd name="T29" fmla="*/ 804 h 1652"/>
              <a:gd name="T30" fmla="*/ 1290 w 1652"/>
              <a:gd name="T31" fmla="*/ 770 h 1652"/>
              <a:gd name="T32" fmla="*/ 769 w 1652"/>
              <a:gd name="T33" fmla="*/ 848 h 1652"/>
              <a:gd name="T34" fmla="*/ 362 w 1652"/>
              <a:gd name="T35" fmla="*/ 882 h 1652"/>
              <a:gd name="T36" fmla="*/ 475 w 1652"/>
              <a:gd name="T37" fmla="*/ 1277 h 1652"/>
              <a:gd name="T38" fmla="*/ 804 w 1652"/>
              <a:gd name="T39" fmla="*/ 1200 h 1652"/>
              <a:gd name="T40" fmla="*/ 769 w 1652"/>
              <a:gd name="T41" fmla="*/ 848 h 1652"/>
              <a:gd name="T42" fmla="*/ 1184 w 1652"/>
              <a:gd name="T43" fmla="*/ 1357 h 1652"/>
              <a:gd name="T44" fmla="*/ 882 w 1652"/>
              <a:gd name="T45" fmla="*/ 1280 h 1652"/>
              <a:gd name="T46" fmla="*/ 848 w 1652"/>
              <a:gd name="T47" fmla="*/ 1652 h 1652"/>
              <a:gd name="T48" fmla="*/ 1151 w 1652"/>
              <a:gd name="T49" fmla="*/ 1421 h 1652"/>
              <a:gd name="T50" fmla="*/ 1256 w 1652"/>
              <a:gd name="T51" fmla="*/ 848 h 1652"/>
              <a:gd name="T52" fmla="*/ 848 w 1652"/>
              <a:gd name="T53" fmla="*/ 883 h 1652"/>
              <a:gd name="T54" fmla="*/ 883 w 1652"/>
              <a:gd name="T55" fmla="*/ 1236 h 1652"/>
              <a:gd name="T56" fmla="*/ 1225 w 1652"/>
              <a:gd name="T57" fmla="*/ 1252 h 1652"/>
              <a:gd name="T58" fmla="*/ 1267 w 1652"/>
              <a:gd name="T59" fmla="*/ 385 h 1652"/>
              <a:gd name="T60" fmla="*/ 1370 w 1652"/>
              <a:gd name="T61" fmla="*/ 804 h 1652"/>
              <a:gd name="T62" fmla="*/ 1440 w 1652"/>
              <a:gd name="T63" fmla="*/ 274 h 1652"/>
              <a:gd name="T64" fmla="*/ 1267 w 1652"/>
              <a:gd name="T65" fmla="*/ 385 h 1652"/>
              <a:gd name="T66" fmla="*/ 1227 w 1652"/>
              <a:gd name="T67" fmla="*/ 1374 h 1652"/>
              <a:gd name="T68" fmla="*/ 1189 w 1652"/>
              <a:gd name="T69" fmla="*/ 1443 h 1652"/>
              <a:gd name="T70" fmla="*/ 1408 w 1652"/>
              <a:gd name="T71" fmla="*/ 1411 h 1652"/>
              <a:gd name="T72" fmla="*/ 463 w 1652"/>
              <a:gd name="T73" fmla="*/ 1443 h 1652"/>
              <a:gd name="T74" fmla="*/ 426 w 1652"/>
              <a:gd name="T75" fmla="*/ 1374 h 1652"/>
              <a:gd name="T76" fmla="*/ 244 w 1652"/>
              <a:gd name="T77" fmla="*/ 1411 h 1652"/>
              <a:gd name="T78" fmla="*/ 463 w 1652"/>
              <a:gd name="T79" fmla="*/ 1443 h 1652"/>
              <a:gd name="T80" fmla="*/ 486 w 1652"/>
              <a:gd name="T81" fmla="*/ 1319 h 1652"/>
              <a:gd name="T82" fmla="*/ 501 w 1652"/>
              <a:gd name="T83" fmla="*/ 1421 h 1652"/>
              <a:gd name="T84" fmla="*/ 804 w 1652"/>
              <a:gd name="T85" fmla="*/ 1652 h 1652"/>
              <a:gd name="T86" fmla="*/ 770 w 1652"/>
              <a:gd name="T87" fmla="*/ 1280 h 1652"/>
              <a:gd name="T88" fmla="*/ 1334 w 1652"/>
              <a:gd name="T89" fmla="*/ 883 h 1652"/>
              <a:gd name="T90" fmla="*/ 1287 w 1652"/>
              <a:gd name="T91" fmla="*/ 1310 h 1652"/>
              <a:gd name="T92" fmla="*/ 1652 w 1652"/>
              <a:gd name="T93" fmla="*/ 848 h 1652"/>
              <a:gd name="T94" fmla="*/ 804 w 1652"/>
              <a:gd name="T95" fmla="*/ 0 h 1652"/>
              <a:gd name="T96" fmla="*/ 501 w 1652"/>
              <a:gd name="T97" fmla="*/ 231 h 1652"/>
              <a:gd name="T98" fmla="*/ 486 w 1652"/>
              <a:gd name="T99" fmla="*/ 333 h 1652"/>
              <a:gd name="T100" fmla="*/ 804 w 1652"/>
              <a:gd name="T101" fmla="*/ 338 h 1652"/>
              <a:gd name="T102" fmla="*/ 378 w 1652"/>
              <a:gd name="T103" fmla="*/ 300 h 1652"/>
              <a:gd name="T104" fmla="*/ 427 w 1652"/>
              <a:gd name="T105" fmla="*/ 278 h 1652"/>
              <a:gd name="T106" fmla="*/ 610 w 1652"/>
              <a:gd name="T107" fmla="*/ 29 h 1652"/>
              <a:gd name="T108" fmla="*/ 378 w 1652"/>
              <a:gd name="T109" fmla="*/ 300 h 1652"/>
              <a:gd name="T110" fmla="*/ 318 w 1652"/>
              <a:gd name="T111" fmla="*/ 769 h 1652"/>
              <a:gd name="T112" fmla="*/ 365 w 1652"/>
              <a:gd name="T113" fmla="*/ 342 h 1652"/>
              <a:gd name="T114" fmla="*/ 0 w 1652"/>
              <a:gd name="T115" fmla="*/ 804 h 1652"/>
              <a:gd name="T116" fmla="*/ 385 w 1652"/>
              <a:gd name="T117" fmla="*/ 1267 h 1652"/>
              <a:gd name="T118" fmla="*/ 282 w 1652"/>
              <a:gd name="T119" fmla="*/ 848 h 1652"/>
              <a:gd name="T120" fmla="*/ 212 w 1652"/>
              <a:gd name="T121" fmla="*/ 1378 h 1652"/>
              <a:gd name="T122" fmla="*/ 385 w 1652"/>
              <a:gd name="T123" fmla="*/ 1267 h 16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52" h="1652">
                <a:moveTo>
                  <a:pt x="1042" y="29"/>
                </a:moveTo>
                <a:cubicBezTo>
                  <a:pt x="1182" y="67"/>
                  <a:pt x="1308" y="141"/>
                  <a:pt x="1408" y="241"/>
                </a:cubicBezTo>
                <a:cubicBezTo>
                  <a:pt x="1367" y="263"/>
                  <a:pt x="1321" y="283"/>
                  <a:pt x="1274" y="300"/>
                </a:cubicBezTo>
                <a:cubicBezTo>
                  <a:pt x="1262" y="287"/>
                  <a:pt x="1245" y="278"/>
                  <a:pt x="1227" y="278"/>
                </a:cubicBezTo>
                <a:cubicBezTo>
                  <a:pt x="1226" y="278"/>
                  <a:pt x="1225" y="278"/>
                  <a:pt x="1225" y="278"/>
                </a:cubicBezTo>
                <a:cubicBezTo>
                  <a:pt x="1214" y="254"/>
                  <a:pt x="1202" y="231"/>
                  <a:pt x="1189" y="209"/>
                </a:cubicBezTo>
                <a:cubicBezTo>
                  <a:pt x="1146" y="133"/>
                  <a:pt x="1096" y="73"/>
                  <a:pt x="1042" y="29"/>
                </a:cubicBezTo>
                <a:close/>
                <a:moveTo>
                  <a:pt x="882" y="372"/>
                </a:moveTo>
                <a:cubicBezTo>
                  <a:pt x="981" y="368"/>
                  <a:pt x="1077" y="355"/>
                  <a:pt x="1166" y="333"/>
                </a:cubicBezTo>
                <a:cubicBezTo>
                  <a:pt x="1167" y="318"/>
                  <a:pt x="1174" y="305"/>
                  <a:pt x="1184" y="295"/>
                </a:cubicBezTo>
                <a:cubicBezTo>
                  <a:pt x="1174" y="273"/>
                  <a:pt x="1163" y="251"/>
                  <a:pt x="1151" y="231"/>
                </a:cubicBezTo>
                <a:cubicBezTo>
                  <a:pt x="1083" y="112"/>
                  <a:pt x="1000" y="34"/>
                  <a:pt x="909" y="4"/>
                </a:cubicBezTo>
                <a:cubicBezTo>
                  <a:pt x="889" y="2"/>
                  <a:pt x="869" y="1"/>
                  <a:pt x="848" y="0"/>
                </a:cubicBezTo>
                <a:cubicBezTo>
                  <a:pt x="848" y="338"/>
                  <a:pt x="848" y="338"/>
                  <a:pt x="848" y="338"/>
                </a:cubicBezTo>
                <a:cubicBezTo>
                  <a:pt x="864" y="344"/>
                  <a:pt x="876" y="356"/>
                  <a:pt x="882" y="372"/>
                </a:cubicBezTo>
                <a:close/>
                <a:moveTo>
                  <a:pt x="804" y="452"/>
                </a:moveTo>
                <a:cubicBezTo>
                  <a:pt x="788" y="446"/>
                  <a:pt x="775" y="432"/>
                  <a:pt x="769" y="416"/>
                </a:cubicBezTo>
                <a:cubicBezTo>
                  <a:pt x="666" y="412"/>
                  <a:pt x="567" y="398"/>
                  <a:pt x="475" y="375"/>
                </a:cubicBezTo>
                <a:cubicBezTo>
                  <a:pt x="464" y="390"/>
                  <a:pt x="446" y="400"/>
                  <a:pt x="427" y="400"/>
                </a:cubicBezTo>
                <a:cubicBezTo>
                  <a:pt x="389" y="512"/>
                  <a:pt x="367" y="638"/>
                  <a:pt x="362" y="770"/>
                </a:cubicBezTo>
                <a:cubicBezTo>
                  <a:pt x="378" y="776"/>
                  <a:pt x="390" y="788"/>
                  <a:pt x="396" y="804"/>
                </a:cubicBezTo>
                <a:cubicBezTo>
                  <a:pt x="769" y="804"/>
                  <a:pt x="769" y="804"/>
                  <a:pt x="769" y="804"/>
                </a:cubicBezTo>
                <a:cubicBezTo>
                  <a:pt x="775" y="788"/>
                  <a:pt x="788" y="775"/>
                  <a:pt x="804" y="769"/>
                </a:cubicBezTo>
                <a:lnTo>
                  <a:pt x="804" y="452"/>
                </a:lnTo>
                <a:close/>
                <a:moveTo>
                  <a:pt x="1225" y="400"/>
                </a:moveTo>
                <a:cubicBezTo>
                  <a:pt x="1206" y="400"/>
                  <a:pt x="1188" y="390"/>
                  <a:pt x="1177" y="375"/>
                </a:cubicBezTo>
                <a:cubicBezTo>
                  <a:pt x="1085" y="398"/>
                  <a:pt x="986" y="412"/>
                  <a:pt x="883" y="416"/>
                </a:cubicBezTo>
                <a:cubicBezTo>
                  <a:pt x="877" y="432"/>
                  <a:pt x="864" y="446"/>
                  <a:pt x="848" y="452"/>
                </a:cubicBezTo>
                <a:cubicBezTo>
                  <a:pt x="848" y="769"/>
                  <a:pt x="848" y="769"/>
                  <a:pt x="848" y="769"/>
                </a:cubicBezTo>
                <a:cubicBezTo>
                  <a:pt x="864" y="775"/>
                  <a:pt x="877" y="788"/>
                  <a:pt x="883" y="804"/>
                </a:cubicBezTo>
                <a:cubicBezTo>
                  <a:pt x="1256" y="804"/>
                  <a:pt x="1256" y="804"/>
                  <a:pt x="1256" y="804"/>
                </a:cubicBezTo>
                <a:cubicBezTo>
                  <a:pt x="1262" y="788"/>
                  <a:pt x="1274" y="776"/>
                  <a:pt x="1290" y="770"/>
                </a:cubicBezTo>
                <a:cubicBezTo>
                  <a:pt x="1285" y="638"/>
                  <a:pt x="1263" y="512"/>
                  <a:pt x="1225" y="400"/>
                </a:cubicBezTo>
                <a:close/>
                <a:moveTo>
                  <a:pt x="769" y="848"/>
                </a:moveTo>
                <a:cubicBezTo>
                  <a:pt x="396" y="848"/>
                  <a:pt x="396" y="848"/>
                  <a:pt x="396" y="848"/>
                </a:cubicBezTo>
                <a:cubicBezTo>
                  <a:pt x="390" y="864"/>
                  <a:pt x="378" y="876"/>
                  <a:pt x="362" y="882"/>
                </a:cubicBezTo>
                <a:cubicBezTo>
                  <a:pt x="367" y="1014"/>
                  <a:pt x="389" y="1140"/>
                  <a:pt x="427" y="1252"/>
                </a:cubicBezTo>
                <a:cubicBezTo>
                  <a:pt x="446" y="1252"/>
                  <a:pt x="464" y="1262"/>
                  <a:pt x="475" y="1277"/>
                </a:cubicBezTo>
                <a:cubicBezTo>
                  <a:pt x="567" y="1254"/>
                  <a:pt x="666" y="1240"/>
                  <a:pt x="769" y="1236"/>
                </a:cubicBezTo>
                <a:cubicBezTo>
                  <a:pt x="775" y="1220"/>
                  <a:pt x="788" y="1206"/>
                  <a:pt x="804" y="1200"/>
                </a:cubicBezTo>
                <a:cubicBezTo>
                  <a:pt x="804" y="883"/>
                  <a:pt x="804" y="883"/>
                  <a:pt x="804" y="883"/>
                </a:cubicBezTo>
                <a:cubicBezTo>
                  <a:pt x="788" y="877"/>
                  <a:pt x="775" y="864"/>
                  <a:pt x="769" y="848"/>
                </a:cubicBezTo>
                <a:close/>
                <a:moveTo>
                  <a:pt x="1151" y="1421"/>
                </a:moveTo>
                <a:cubicBezTo>
                  <a:pt x="1163" y="1401"/>
                  <a:pt x="1174" y="1379"/>
                  <a:pt x="1184" y="1357"/>
                </a:cubicBezTo>
                <a:cubicBezTo>
                  <a:pt x="1174" y="1347"/>
                  <a:pt x="1167" y="1334"/>
                  <a:pt x="1166" y="1319"/>
                </a:cubicBezTo>
                <a:cubicBezTo>
                  <a:pt x="1077" y="1297"/>
                  <a:pt x="981" y="1284"/>
                  <a:pt x="882" y="1280"/>
                </a:cubicBezTo>
                <a:cubicBezTo>
                  <a:pt x="876" y="1296"/>
                  <a:pt x="864" y="1308"/>
                  <a:pt x="848" y="1314"/>
                </a:cubicBezTo>
                <a:cubicBezTo>
                  <a:pt x="848" y="1652"/>
                  <a:pt x="848" y="1652"/>
                  <a:pt x="848" y="1652"/>
                </a:cubicBezTo>
                <a:cubicBezTo>
                  <a:pt x="869" y="1651"/>
                  <a:pt x="889" y="1650"/>
                  <a:pt x="909" y="1648"/>
                </a:cubicBezTo>
                <a:cubicBezTo>
                  <a:pt x="1000" y="1618"/>
                  <a:pt x="1083" y="1540"/>
                  <a:pt x="1151" y="1421"/>
                </a:cubicBezTo>
                <a:close/>
                <a:moveTo>
                  <a:pt x="1290" y="882"/>
                </a:moveTo>
                <a:cubicBezTo>
                  <a:pt x="1274" y="876"/>
                  <a:pt x="1262" y="864"/>
                  <a:pt x="1256" y="848"/>
                </a:cubicBezTo>
                <a:cubicBezTo>
                  <a:pt x="883" y="848"/>
                  <a:pt x="883" y="848"/>
                  <a:pt x="883" y="848"/>
                </a:cubicBezTo>
                <a:cubicBezTo>
                  <a:pt x="877" y="864"/>
                  <a:pt x="864" y="877"/>
                  <a:pt x="848" y="883"/>
                </a:cubicBezTo>
                <a:cubicBezTo>
                  <a:pt x="848" y="1200"/>
                  <a:pt x="848" y="1200"/>
                  <a:pt x="848" y="1200"/>
                </a:cubicBezTo>
                <a:cubicBezTo>
                  <a:pt x="864" y="1206"/>
                  <a:pt x="877" y="1220"/>
                  <a:pt x="883" y="1236"/>
                </a:cubicBezTo>
                <a:cubicBezTo>
                  <a:pt x="986" y="1240"/>
                  <a:pt x="1085" y="1254"/>
                  <a:pt x="1177" y="1277"/>
                </a:cubicBezTo>
                <a:cubicBezTo>
                  <a:pt x="1188" y="1262"/>
                  <a:pt x="1206" y="1252"/>
                  <a:pt x="1225" y="1252"/>
                </a:cubicBezTo>
                <a:cubicBezTo>
                  <a:pt x="1263" y="1140"/>
                  <a:pt x="1285" y="1014"/>
                  <a:pt x="1290" y="882"/>
                </a:cubicBezTo>
                <a:close/>
                <a:moveTo>
                  <a:pt x="1267" y="385"/>
                </a:moveTo>
                <a:cubicBezTo>
                  <a:pt x="1306" y="501"/>
                  <a:pt x="1329" y="632"/>
                  <a:pt x="1334" y="769"/>
                </a:cubicBezTo>
                <a:cubicBezTo>
                  <a:pt x="1350" y="775"/>
                  <a:pt x="1363" y="788"/>
                  <a:pt x="1370" y="804"/>
                </a:cubicBezTo>
                <a:cubicBezTo>
                  <a:pt x="1652" y="804"/>
                  <a:pt x="1652" y="804"/>
                  <a:pt x="1652" y="804"/>
                </a:cubicBezTo>
                <a:cubicBezTo>
                  <a:pt x="1646" y="600"/>
                  <a:pt x="1567" y="415"/>
                  <a:pt x="1440" y="274"/>
                </a:cubicBezTo>
                <a:cubicBezTo>
                  <a:pt x="1393" y="300"/>
                  <a:pt x="1342" y="323"/>
                  <a:pt x="1287" y="342"/>
                </a:cubicBezTo>
                <a:cubicBezTo>
                  <a:pt x="1286" y="359"/>
                  <a:pt x="1279" y="374"/>
                  <a:pt x="1267" y="385"/>
                </a:cubicBezTo>
                <a:close/>
                <a:moveTo>
                  <a:pt x="1274" y="1352"/>
                </a:moveTo>
                <a:cubicBezTo>
                  <a:pt x="1262" y="1365"/>
                  <a:pt x="1245" y="1374"/>
                  <a:pt x="1227" y="1374"/>
                </a:cubicBezTo>
                <a:cubicBezTo>
                  <a:pt x="1226" y="1374"/>
                  <a:pt x="1225" y="1374"/>
                  <a:pt x="1225" y="1374"/>
                </a:cubicBezTo>
                <a:cubicBezTo>
                  <a:pt x="1214" y="1398"/>
                  <a:pt x="1202" y="1421"/>
                  <a:pt x="1189" y="1443"/>
                </a:cubicBezTo>
                <a:cubicBezTo>
                  <a:pt x="1146" y="1519"/>
                  <a:pt x="1096" y="1579"/>
                  <a:pt x="1042" y="1623"/>
                </a:cubicBezTo>
                <a:cubicBezTo>
                  <a:pt x="1182" y="1585"/>
                  <a:pt x="1308" y="1511"/>
                  <a:pt x="1408" y="1411"/>
                </a:cubicBezTo>
                <a:cubicBezTo>
                  <a:pt x="1367" y="1389"/>
                  <a:pt x="1321" y="1369"/>
                  <a:pt x="1274" y="1352"/>
                </a:cubicBezTo>
                <a:close/>
                <a:moveTo>
                  <a:pt x="463" y="1443"/>
                </a:moveTo>
                <a:cubicBezTo>
                  <a:pt x="450" y="1421"/>
                  <a:pt x="438" y="1398"/>
                  <a:pt x="427" y="1374"/>
                </a:cubicBezTo>
                <a:cubicBezTo>
                  <a:pt x="427" y="1374"/>
                  <a:pt x="426" y="1374"/>
                  <a:pt x="426" y="1374"/>
                </a:cubicBezTo>
                <a:cubicBezTo>
                  <a:pt x="407" y="1374"/>
                  <a:pt x="390" y="1365"/>
                  <a:pt x="378" y="1352"/>
                </a:cubicBezTo>
                <a:cubicBezTo>
                  <a:pt x="331" y="1369"/>
                  <a:pt x="285" y="1389"/>
                  <a:pt x="244" y="1411"/>
                </a:cubicBezTo>
                <a:cubicBezTo>
                  <a:pt x="344" y="1511"/>
                  <a:pt x="470" y="1585"/>
                  <a:pt x="610" y="1623"/>
                </a:cubicBezTo>
                <a:cubicBezTo>
                  <a:pt x="556" y="1579"/>
                  <a:pt x="506" y="1519"/>
                  <a:pt x="463" y="1443"/>
                </a:cubicBezTo>
                <a:close/>
                <a:moveTo>
                  <a:pt x="770" y="1280"/>
                </a:moveTo>
                <a:cubicBezTo>
                  <a:pt x="671" y="1284"/>
                  <a:pt x="575" y="1297"/>
                  <a:pt x="486" y="1319"/>
                </a:cubicBezTo>
                <a:cubicBezTo>
                  <a:pt x="485" y="1334"/>
                  <a:pt x="478" y="1347"/>
                  <a:pt x="468" y="1357"/>
                </a:cubicBezTo>
                <a:cubicBezTo>
                  <a:pt x="478" y="1379"/>
                  <a:pt x="489" y="1401"/>
                  <a:pt x="501" y="1421"/>
                </a:cubicBezTo>
                <a:cubicBezTo>
                  <a:pt x="569" y="1540"/>
                  <a:pt x="652" y="1618"/>
                  <a:pt x="743" y="1648"/>
                </a:cubicBezTo>
                <a:cubicBezTo>
                  <a:pt x="763" y="1650"/>
                  <a:pt x="783" y="1651"/>
                  <a:pt x="804" y="1652"/>
                </a:cubicBezTo>
                <a:cubicBezTo>
                  <a:pt x="804" y="1314"/>
                  <a:pt x="804" y="1314"/>
                  <a:pt x="804" y="1314"/>
                </a:cubicBezTo>
                <a:cubicBezTo>
                  <a:pt x="788" y="1308"/>
                  <a:pt x="776" y="1296"/>
                  <a:pt x="770" y="1280"/>
                </a:cubicBezTo>
                <a:close/>
                <a:moveTo>
                  <a:pt x="1370" y="848"/>
                </a:moveTo>
                <a:cubicBezTo>
                  <a:pt x="1363" y="864"/>
                  <a:pt x="1350" y="877"/>
                  <a:pt x="1334" y="883"/>
                </a:cubicBezTo>
                <a:cubicBezTo>
                  <a:pt x="1329" y="1020"/>
                  <a:pt x="1306" y="1151"/>
                  <a:pt x="1267" y="1267"/>
                </a:cubicBezTo>
                <a:cubicBezTo>
                  <a:pt x="1279" y="1278"/>
                  <a:pt x="1286" y="1293"/>
                  <a:pt x="1287" y="1310"/>
                </a:cubicBezTo>
                <a:cubicBezTo>
                  <a:pt x="1342" y="1329"/>
                  <a:pt x="1393" y="1352"/>
                  <a:pt x="1440" y="1378"/>
                </a:cubicBezTo>
                <a:cubicBezTo>
                  <a:pt x="1567" y="1237"/>
                  <a:pt x="1646" y="1052"/>
                  <a:pt x="1652" y="848"/>
                </a:cubicBezTo>
                <a:lnTo>
                  <a:pt x="1370" y="848"/>
                </a:lnTo>
                <a:close/>
                <a:moveTo>
                  <a:pt x="804" y="0"/>
                </a:moveTo>
                <a:cubicBezTo>
                  <a:pt x="783" y="1"/>
                  <a:pt x="763" y="2"/>
                  <a:pt x="743" y="4"/>
                </a:cubicBezTo>
                <a:cubicBezTo>
                  <a:pt x="652" y="34"/>
                  <a:pt x="569" y="112"/>
                  <a:pt x="501" y="231"/>
                </a:cubicBezTo>
                <a:cubicBezTo>
                  <a:pt x="489" y="251"/>
                  <a:pt x="478" y="273"/>
                  <a:pt x="468" y="295"/>
                </a:cubicBezTo>
                <a:cubicBezTo>
                  <a:pt x="478" y="305"/>
                  <a:pt x="485" y="318"/>
                  <a:pt x="486" y="333"/>
                </a:cubicBezTo>
                <a:cubicBezTo>
                  <a:pt x="575" y="355"/>
                  <a:pt x="671" y="368"/>
                  <a:pt x="770" y="372"/>
                </a:cubicBezTo>
                <a:cubicBezTo>
                  <a:pt x="776" y="356"/>
                  <a:pt x="788" y="344"/>
                  <a:pt x="804" y="338"/>
                </a:cubicBezTo>
                <a:lnTo>
                  <a:pt x="804" y="0"/>
                </a:lnTo>
                <a:close/>
                <a:moveTo>
                  <a:pt x="378" y="300"/>
                </a:moveTo>
                <a:cubicBezTo>
                  <a:pt x="390" y="287"/>
                  <a:pt x="407" y="278"/>
                  <a:pt x="426" y="278"/>
                </a:cubicBezTo>
                <a:cubicBezTo>
                  <a:pt x="426" y="278"/>
                  <a:pt x="427" y="278"/>
                  <a:pt x="427" y="278"/>
                </a:cubicBezTo>
                <a:cubicBezTo>
                  <a:pt x="438" y="254"/>
                  <a:pt x="450" y="231"/>
                  <a:pt x="463" y="209"/>
                </a:cubicBezTo>
                <a:cubicBezTo>
                  <a:pt x="506" y="133"/>
                  <a:pt x="556" y="73"/>
                  <a:pt x="610" y="29"/>
                </a:cubicBezTo>
                <a:cubicBezTo>
                  <a:pt x="470" y="67"/>
                  <a:pt x="344" y="141"/>
                  <a:pt x="244" y="241"/>
                </a:cubicBezTo>
                <a:cubicBezTo>
                  <a:pt x="285" y="263"/>
                  <a:pt x="331" y="283"/>
                  <a:pt x="378" y="300"/>
                </a:cubicBezTo>
                <a:close/>
                <a:moveTo>
                  <a:pt x="282" y="804"/>
                </a:moveTo>
                <a:cubicBezTo>
                  <a:pt x="289" y="788"/>
                  <a:pt x="302" y="775"/>
                  <a:pt x="318" y="769"/>
                </a:cubicBezTo>
                <a:cubicBezTo>
                  <a:pt x="323" y="632"/>
                  <a:pt x="346" y="501"/>
                  <a:pt x="385" y="385"/>
                </a:cubicBezTo>
                <a:cubicBezTo>
                  <a:pt x="373" y="374"/>
                  <a:pt x="366" y="359"/>
                  <a:pt x="365" y="342"/>
                </a:cubicBezTo>
                <a:cubicBezTo>
                  <a:pt x="310" y="323"/>
                  <a:pt x="259" y="300"/>
                  <a:pt x="212" y="274"/>
                </a:cubicBezTo>
                <a:cubicBezTo>
                  <a:pt x="85" y="415"/>
                  <a:pt x="6" y="600"/>
                  <a:pt x="0" y="804"/>
                </a:cubicBezTo>
                <a:lnTo>
                  <a:pt x="282" y="804"/>
                </a:lnTo>
                <a:close/>
                <a:moveTo>
                  <a:pt x="385" y="1267"/>
                </a:moveTo>
                <a:cubicBezTo>
                  <a:pt x="346" y="1151"/>
                  <a:pt x="323" y="1020"/>
                  <a:pt x="318" y="883"/>
                </a:cubicBezTo>
                <a:cubicBezTo>
                  <a:pt x="302" y="877"/>
                  <a:pt x="289" y="864"/>
                  <a:pt x="282" y="848"/>
                </a:cubicBezTo>
                <a:cubicBezTo>
                  <a:pt x="0" y="848"/>
                  <a:pt x="0" y="848"/>
                  <a:pt x="0" y="848"/>
                </a:cubicBezTo>
                <a:cubicBezTo>
                  <a:pt x="6" y="1052"/>
                  <a:pt x="85" y="1237"/>
                  <a:pt x="212" y="1378"/>
                </a:cubicBezTo>
                <a:cubicBezTo>
                  <a:pt x="259" y="1352"/>
                  <a:pt x="310" y="1329"/>
                  <a:pt x="365" y="1310"/>
                </a:cubicBezTo>
                <a:cubicBezTo>
                  <a:pt x="366" y="1293"/>
                  <a:pt x="373" y="1278"/>
                  <a:pt x="385" y="12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latin typeface="Formular" charset="0"/>
              <a:ea typeface="Formular" charset="0"/>
              <a:cs typeface="Formular" charset="0"/>
            </a:endParaRPr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F9AFEE9D-F72D-E148-8420-9BDCC1934E3F}"/>
              </a:ext>
            </a:extLst>
          </p:cNvPr>
          <p:cNvSpPr txBox="1">
            <a:spLocks/>
          </p:cNvSpPr>
          <p:nvPr userDrawn="1"/>
        </p:nvSpPr>
        <p:spPr>
          <a:xfrm>
            <a:off x="1767932" y="3382692"/>
            <a:ext cx="4483781" cy="1173853"/>
          </a:xfrm>
          <a:prstGeom prst="rect">
            <a:avLst/>
          </a:prstGeom>
        </p:spPr>
        <p:txBody>
          <a:bodyPr/>
          <a:lstStyle>
            <a:lvl1pPr algn="l" defTabSz="74272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icons are one color</a:t>
            </a:r>
          </a:p>
          <a:p>
            <a:r>
              <a:rPr lang="en-US" dirty="0">
                <a:solidFill>
                  <a:srgbClr val="000000"/>
                </a:solidFill>
              </a:rPr>
              <a:t>no bounding box</a:t>
            </a:r>
          </a:p>
        </p:txBody>
      </p:sp>
      <p:sp>
        <p:nvSpPr>
          <p:cNvPr id="22" name="Title 11">
            <a:extLst>
              <a:ext uri="{FF2B5EF4-FFF2-40B4-BE49-F238E27FC236}">
                <a16:creationId xmlns:a16="http://schemas.microsoft.com/office/drawing/2014/main" id="{26097870-DF19-EC49-B311-B8B1626D5509}"/>
              </a:ext>
            </a:extLst>
          </p:cNvPr>
          <p:cNvSpPr txBox="1">
            <a:spLocks/>
          </p:cNvSpPr>
          <p:nvPr userDrawn="1"/>
        </p:nvSpPr>
        <p:spPr>
          <a:xfrm>
            <a:off x="6840201" y="3010772"/>
            <a:ext cx="4483781" cy="11738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l" defTabSz="74272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pecial cases</a:t>
            </a:r>
          </a:p>
          <a:p>
            <a:r>
              <a:rPr lang="en-US" dirty="0">
                <a:solidFill>
                  <a:srgbClr val="000000"/>
                </a:solidFill>
              </a:rPr>
              <a:t>Text on gray field</a:t>
            </a:r>
          </a:p>
        </p:txBody>
      </p:sp>
    </p:spTree>
    <p:extLst>
      <p:ext uri="{BB962C8B-B14F-4D97-AF65-F5344CB8AC3E}">
        <p14:creationId xmlns:p14="http://schemas.microsoft.com/office/powerpoint/2010/main" val="38500448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titl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/>
          <p:cNvSpPr/>
          <p:nvPr userDrawn="1"/>
        </p:nvSpPr>
        <p:spPr>
          <a:xfrm>
            <a:off x="-241739" y="1718442"/>
            <a:ext cx="491358" cy="491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9600" y="1600200"/>
            <a:ext cx="7010400" cy="3352800"/>
          </a:xfrm>
        </p:spPr>
        <p:txBody>
          <a:bodyPr>
            <a:normAutofit/>
          </a:bodyPr>
          <a:lstStyle>
            <a:lvl1pPr>
              <a:defRPr sz="4800" cap="all" spc="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872" y="6141573"/>
            <a:ext cx="2289401" cy="51563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81000"/>
            <a:ext cx="2743200" cy="30480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7600" y="381000"/>
            <a:ext cx="3962400" cy="304800"/>
          </a:xfrm>
        </p:spPr>
        <p:txBody>
          <a:bodyPr>
            <a:normAutofit/>
          </a:bodyPr>
          <a:lstStyle>
            <a:lvl1pPr>
              <a:defRPr sz="1800" b="1"/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657600" y="685800"/>
            <a:ext cx="3962400" cy="30480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en-US" dirty="0"/>
              <a:t>Presenter Title</a:t>
            </a:r>
          </a:p>
        </p:txBody>
      </p:sp>
    </p:spTree>
    <p:extLst>
      <p:ext uri="{BB962C8B-B14F-4D97-AF65-F5344CB8AC3E}">
        <p14:creationId xmlns:p14="http://schemas.microsoft.com/office/powerpoint/2010/main" val="2252103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call out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81001"/>
            <a:ext cx="8229601" cy="923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905000"/>
            <a:ext cx="8229600" cy="3962400"/>
          </a:xfrm>
        </p:spPr>
        <p:txBody>
          <a:bodyPr>
            <a:normAutofit/>
          </a:bodyPr>
          <a:lstStyle>
            <a:lvl1pPr>
              <a:defRPr sz="5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esentation Title | Date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7218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text wide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10969246" cy="3657600"/>
          </a:xfrm>
        </p:spPr>
        <p:txBody>
          <a:bodyPr bIns="18288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esentation Title | Date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9600" y="5562600"/>
            <a:ext cx="10969625" cy="609600"/>
          </a:xfrm>
          <a:solidFill>
            <a:schemeClr val="accent6"/>
          </a:solidFill>
        </p:spPr>
        <p:txBody>
          <a:bodyPr lIns="182880" tIns="182880" rIns="182880" bIns="182880" anchor="ctr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07319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9600" y="1905000"/>
            <a:ext cx="5181600" cy="3962400"/>
          </a:xfrm>
          <a:solidFill>
            <a:schemeClr val="accent4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397247" y="1905000"/>
            <a:ext cx="5181600" cy="39624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5282625"/>
            <a:ext cx="5181600" cy="584775"/>
          </a:xfrm>
        </p:spPr>
        <p:txBody>
          <a:bodyPr lIns="182880" tIns="182880" rIns="182880" bIns="182880" anchor="b">
            <a:noAutofit/>
          </a:bodyPr>
          <a:lstStyle>
            <a:lvl1pPr>
              <a:defRPr sz="16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Imag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esentation Title | Date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4969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E66031-4C1F-3C45-8ABB-5738639DD92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1023366" y="725674"/>
            <a:ext cx="2679356" cy="1647887"/>
          </a:xfrm>
          <a:prstGeom prst="rect">
            <a:avLst/>
          </a:prstGeom>
          <a:solidFill>
            <a:srgbClr val="FFFF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389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SzTx/>
              <a:buFont typeface="Wingdings" pitchFamily="2" charset="2"/>
              <a:buNone/>
              <a:tabLst/>
            </a:pPr>
            <a:endParaRPr kumimoji="0" lang="en-US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ahoma"/>
              <a:cs typeface="Tahoma"/>
            </a:endParaRPr>
          </a:p>
        </p:txBody>
      </p:sp>
      <p:sp>
        <p:nvSpPr>
          <p:cNvPr id="4" name="Rounded Rectangular Callout 3"/>
          <p:cNvSpPr/>
          <p:nvPr userDrawn="1"/>
        </p:nvSpPr>
        <p:spPr bwMode="auto">
          <a:xfrm>
            <a:off x="4930761" y="771030"/>
            <a:ext cx="2493289" cy="1496703"/>
          </a:xfrm>
          <a:prstGeom prst="wedgeRoundRectCallout">
            <a:avLst>
              <a:gd name="adj1" fmla="val -684"/>
              <a:gd name="adj2" fmla="val 73611"/>
              <a:gd name="adj3" fmla="val 16667"/>
            </a:avLst>
          </a:prstGeom>
          <a:solidFill>
            <a:srgbClr val="008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38977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FF3300"/>
              </a:buClr>
              <a:buSzTx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Tahoma"/>
                <a:cs typeface="Tahoma"/>
              </a:rPr>
              <a:t>Words in call out</a:t>
            </a:r>
          </a:p>
        </p:txBody>
      </p:sp>
      <p:sp>
        <p:nvSpPr>
          <p:cNvPr id="5" name="Right Arrow 4"/>
          <p:cNvSpPr/>
          <p:nvPr userDrawn="1"/>
        </p:nvSpPr>
        <p:spPr bwMode="auto">
          <a:xfrm>
            <a:off x="8559054" y="725674"/>
            <a:ext cx="2716569" cy="1300167"/>
          </a:xfrm>
          <a:prstGeom prst="rightArrow">
            <a:avLst/>
          </a:prstGeom>
          <a:solidFill>
            <a:srgbClr val="0000FF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38977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FF3300"/>
              </a:buClr>
              <a:buSzTx/>
              <a:buFont typeface="Wingdings" pitchFamily="2" charset="2"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effectLst/>
              <a:latin typeface="Tahoma"/>
              <a:cs typeface="Tahoma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060580" y="2902699"/>
            <a:ext cx="4167885" cy="47424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lIns="103900" tIns="51951" rIns="103900" bIns="51951" rtlCol="0">
            <a:spAutoFit/>
          </a:bodyPr>
          <a:lstStyle/>
          <a:p>
            <a:r>
              <a:rPr lang="en-US" sz="2400" b="0" dirty="0">
                <a:solidFill>
                  <a:srgbClr val="000000"/>
                </a:solidFill>
                <a:latin typeface="Tahoma"/>
                <a:cs typeface="Tahoma"/>
              </a:rPr>
              <a:t>Text</a:t>
            </a:r>
            <a:r>
              <a:rPr lang="en-US" sz="2400" b="0" baseline="0" dirty="0">
                <a:solidFill>
                  <a:srgbClr val="000000"/>
                </a:solidFill>
                <a:latin typeface="Tahoma"/>
                <a:cs typeface="Tahoma"/>
              </a:rPr>
              <a:t> box with line</a:t>
            </a:r>
            <a:endParaRPr lang="en-US" sz="2400" b="0" dirty="0">
              <a:solidFill>
                <a:srgbClr val="000000"/>
              </a:solidFill>
              <a:latin typeface="Tahoma"/>
              <a:cs typeface="Tahoma"/>
            </a:endParaRPr>
          </a:p>
        </p:txBody>
      </p:sp>
      <p:sp>
        <p:nvSpPr>
          <p:cNvPr id="9" name="Left Brace 8"/>
          <p:cNvSpPr/>
          <p:nvPr userDrawn="1"/>
        </p:nvSpPr>
        <p:spPr bwMode="auto">
          <a:xfrm>
            <a:off x="893119" y="4036564"/>
            <a:ext cx="707052" cy="1783949"/>
          </a:xfrm>
          <a:prstGeom prst="leftBrace">
            <a:avLst>
              <a:gd name="adj1" fmla="val 29902"/>
              <a:gd name="adj2" fmla="val 50000"/>
            </a:avLst>
          </a:prstGeom>
          <a:noFill/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none" w="lg" len="lg"/>
          </a:ln>
          <a:effectLst/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38977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SzTx/>
              <a:buFont typeface="Wingdings" pitchFamily="2" charset="2"/>
              <a:buNone/>
              <a:tabLst/>
            </a:pPr>
            <a:endParaRPr kumimoji="0" lang="en-US" sz="3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  <a:cs typeface="Arial" charset="0"/>
            </a:endParaRPr>
          </a:p>
        </p:txBody>
      </p:sp>
      <p:sp>
        <p:nvSpPr>
          <p:cNvPr id="11" name="Explosion 2 10"/>
          <p:cNvSpPr/>
          <p:nvPr userDrawn="1"/>
        </p:nvSpPr>
        <p:spPr bwMode="auto">
          <a:xfrm>
            <a:off x="1897879" y="3719080"/>
            <a:ext cx="4149280" cy="2449152"/>
          </a:xfrm>
          <a:prstGeom prst="irregularSeal2">
            <a:avLst/>
          </a:prstGeom>
          <a:solidFill>
            <a:srgbClr val="FF0000"/>
          </a:solidFill>
          <a:ln w="28575" cap="flat" cmpd="sng" algn="ctr">
            <a:solidFill>
              <a:srgbClr val="000000"/>
            </a:solidFill>
            <a:prstDash val="solid"/>
            <a:round/>
            <a:headEnd type="none" w="sm" len="sm"/>
            <a:tailEnd type="triangle" w="lg" len="lg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vert="horz" wrap="square" lIns="103900" tIns="51951" rIns="103900" bIns="51951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38977" eaLnBrk="1" latinLnBrk="0" hangingPunct="1">
              <a:lnSpc>
                <a:spcPct val="100000"/>
              </a:lnSpc>
              <a:spcBef>
                <a:spcPct val="20000"/>
              </a:spcBef>
              <a:buClr>
                <a:srgbClr val="FF3300"/>
              </a:buClr>
              <a:buSzTx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 dirty="0">
                <a:ln>
                  <a:noFill/>
                </a:ln>
                <a:effectLst/>
                <a:latin typeface="Tahoma"/>
                <a:cs typeface="Tahoma"/>
              </a:rPr>
              <a:t>Kaizen burst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6564656" y="2873073"/>
            <a:ext cx="4822608" cy="2310842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square" lIns="103900" tIns="51951" rIns="103900" bIns="51951">
            <a:spAutoFit/>
          </a:bodyPr>
          <a:lstStyle/>
          <a:p>
            <a:pPr marL="389616" marR="0" lvl="0" indent="-389616" algn="l" defTabSz="10389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844168" marR="0" lvl="1" indent="-324680" algn="l" defTabSz="10389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81"/>
              </a:spcAft>
              <a:buClr>
                <a:srgbClr val="000000"/>
              </a:buClr>
              <a:buSzPct val="75000"/>
              <a:buFont typeface="Wingdings" pitchFamily="8" charset="2"/>
              <a:buChar char="n"/>
              <a:tabLst/>
              <a:defRPr/>
            </a:pPr>
            <a:r>
              <a:rPr kumimoji="0" lang="en-US" sz="26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ＭＳ Ｐゴシック" charset="-128"/>
                <a:cs typeface="Tahoma"/>
              </a:rPr>
              <a:t>Text box with bullets</a:t>
            </a:r>
          </a:p>
          <a:p>
            <a:pPr marL="1399732" marR="0" lvl="2" indent="-339110" algn="l" defTabSz="10389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tabLst/>
              <a:defRPr/>
            </a:pPr>
            <a:r>
              <a:rPr kumimoji="0" lang="en-US" sz="22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ＭＳ Ｐゴシック" charset="-128"/>
                <a:cs typeface="Tahoma"/>
              </a:rPr>
              <a:t>Third level</a:t>
            </a:r>
          </a:p>
          <a:p>
            <a:pPr marL="1883145" marR="0" lvl="3" indent="-259744" algn="l" defTabSz="10389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ＭＳ Ｐゴシック" charset="-128"/>
                <a:cs typeface="Tahoma"/>
              </a:rPr>
              <a:t>Fourth level</a:t>
            </a:r>
          </a:p>
          <a:p>
            <a:pPr marL="2359342" marR="0" lvl="4" indent="-259744" algn="l" defTabSz="10389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81"/>
              </a:spcAft>
              <a:buClr>
                <a:srgbClr val="800000"/>
              </a:buClr>
              <a:buSzPct val="75000"/>
              <a:buFont typeface="Wingdings" pitchFamily="8" charset="2"/>
              <a:buChar char="n"/>
              <a:tabLst/>
              <a:defRPr/>
            </a:pPr>
            <a:r>
              <a:rPr kumimoji="0" lang="en-US" sz="18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ＭＳ Ｐゴシック" charset="-128"/>
                <a:cs typeface="Tahoma"/>
              </a:rPr>
              <a:t>Fifth leve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8E3A2EF-D800-4AD3-A68A-AB7AC1275D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743217"/>
      </p:ext>
    </p:extLst>
  </p:cSld>
  <p:clrMapOvr>
    <a:masterClrMapping/>
  </p:clrMapOvr>
  <p:transition spd="med">
    <p:zoom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107696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245600" y="64579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5C1A86-130B-4077-9F01-DAA963641D3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5849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with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791" y="-114300"/>
            <a:ext cx="11584411" cy="1109663"/>
          </a:xfrm>
          <a:prstGeom prst="rect">
            <a:avLst/>
          </a:prstGeom>
        </p:spPr>
        <p:txBody>
          <a:bodyPr/>
          <a:lstStyle>
            <a:lvl1pPr>
              <a:defRPr sz="26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463" y="5661302"/>
            <a:ext cx="11276247" cy="647550"/>
          </a:xfrm>
          <a:solidFill>
            <a:schemeClr val="tx2"/>
          </a:solidFill>
          <a:ln>
            <a:noFill/>
          </a:ln>
          <a:effectLst/>
        </p:spPr>
        <p:txBody>
          <a:bodyPr lIns="108000" tIns="36000" rIns="108000" bIns="72000" anchor="ctr"/>
          <a:lstStyle>
            <a:lvl1pPr marL="0" indent="0" algn="ctr">
              <a:buNone/>
              <a:defRPr sz="1800" b="1">
                <a:solidFill>
                  <a:srgbClr val="FFFFFF"/>
                </a:solidFill>
              </a:defRPr>
            </a:lvl1pPr>
            <a:lvl2pPr>
              <a:defRPr b="1">
                <a:solidFill>
                  <a:srgbClr val="FFFFFF"/>
                </a:solidFill>
              </a:defRPr>
            </a:lvl2pPr>
            <a:lvl3pPr>
              <a:defRPr b="1">
                <a:solidFill>
                  <a:srgbClr val="FFFFFF"/>
                </a:solidFill>
              </a:defRPr>
            </a:lvl3pPr>
            <a:lvl4pPr>
              <a:defRPr b="1">
                <a:solidFill>
                  <a:srgbClr val="FFFFFF"/>
                </a:solidFill>
              </a:defRPr>
            </a:lvl4pPr>
            <a:lvl5pPr>
              <a:defRPr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02794" y="6474165"/>
            <a:ext cx="538575" cy="365125"/>
          </a:xfrm>
          <a:prstGeom prst="rect">
            <a:avLst/>
          </a:prstGeom>
        </p:spPr>
        <p:txBody>
          <a:bodyPr/>
          <a:lstStyle/>
          <a:p>
            <a:pPr defTabSz="455221"/>
            <a:fld id="{A43139FB-0DEB-4527-9CBA-1C326F5D9B41}" type="slidenum">
              <a:rPr lang="en-US" smtClean="0">
                <a:solidFill>
                  <a:srgbClr val="000000"/>
                </a:solidFill>
              </a:rPr>
              <a:pPr defTabSz="45522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00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Page 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31800" y="980875"/>
            <a:ext cx="11328400" cy="2257028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688077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245225"/>
            <a:ext cx="3860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" y="6497639"/>
            <a:ext cx="537633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88FFC76-23B0-41AB-B1B7-00789ED9709F}" type="slidenum">
              <a:rPr lang="en-GB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5143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10969246" cy="39624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81001"/>
            <a:ext cx="10969247" cy="9239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7"/>
          </p:nvPr>
        </p:nvSpPr>
        <p:spPr>
          <a:xfrm>
            <a:off x="1227266" y="6356350"/>
            <a:ext cx="4114800" cy="27432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Leadership Update | October 11, 2018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8"/>
          </p:nvPr>
        </p:nvSpPr>
        <p:spPr>
          <a:xfrm>
            <a:off x="613284" y="6356350"/>
            <a:ext cx="548640" cy="274320"/>
          </a:xfrm>
          <a:prstGeom prst="rect">
            <a:avLst/>
          </a:prstGeom>
        </p:spPr>
        <p:txBody>
          <a:bodyPr/>
          <a:lstStyle/>
          <a:p>
            <a:fld id="{E257F6BE-B0F9-48EE-B604-3FA77DC85389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4419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 column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397247" y="1905000"/>
            <a:ext cx="5181600" cy="3657600"/>
          </a:xfrm>
        </p:spPr>
        <p:txBody>
          <a:bodyPr bIns="18288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5181600" cy="3657600"/>
          </a:xfrm>
        </p:spPr>
        <p:txBody>
          <a:bodyPr bIns="182880">
            <a:noAutofit/>
          </a:bodyPr>
          <a:lstStyle>
            <a:lvl7pPr>
              <a:defRPr baseline="0"/>
            </a:lvl7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81001"/>
            <a:ext cx="10969247" cy="9239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227266" y="6324599"/>
            <a:ext cx="3492500" cy="304801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DS Lean Deployment | Feb 19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>
          <a:xfrm>
            <a:off x="613284" y="6324599"/>
            <a:ext cx="624550" cy="304802"/>
          </a:xfrm>
          <a:prstGeom prst="rect">
            <a:avLst/>
          </a:prstGeom>
        </p:spPr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ontent Placeholder 3"/>
          <p:cNvSpPr>
            <a:spLocks noGrp="1"/>
          </p:cNvSpPr>
          <p:nvPr>
            <p:ph sz="quarter" idx="19"/>
          </p:nvPr>
        </p:nvSpPr>
        <p:spPr>
          <a:xfrm>
            <a:off x="609600" y="5562600"/>
            <a:ext cx="10969625" cy="609600"/>
          </a:xfrm>
          <a:solidFill>
            <a:schemeClr val="tx2"/>
          </a:solidFill>
        </p:spPr>
        <p:txBody>
          <a:bodyPr lIns="182880" tIns="182880" rIns="182880" bIns="182880" anchor="ctr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87449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599" y="381001"/>
            <a:ext cx="10969247" cy="92392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1227266" y="6324599"/>
            <a:ext cx="3492500" cy="304801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EDS Lean Deployment | Feb 19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13284" y="6324599"/>
            <a:ext cx="624550" cy="304802"/>
          </a:xfrm>
          <a:prstGeom prst="rect">
            <a:avLst/>
          </a:prstGeom>
        </p:spPr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0787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791" y="-114300"/>
            <a:ext cx="11584411" cy="1109663"/>
          </a:xfrm>
          <a:prstGeom prst="rect">
            <a:avLst/>
          </a:prstGeom>
        </p:spPr>
        <p:txBody>
          <a:bodyPr/>
          <a:lstStyle>
            <a:lvl1pPr>
              <a:defRPr sz="2705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00574" y="1733552"/>
            <a:ext cx="11586632" cy="4706958"/>
          </a:xfrm>
          <a:prstGeom prst="rect">
            <a:avLst/>
          </a:prstGeom>
        </p:spPr>
        <p:txBody>
          <a:bodyPr vert="horz" lIns="121710" tIns="60856" rIns="121710" bIns="60856" rtlCol="0">
            <a:noAutofit/>
          </a:bodyPr>
          <a:lstStyle>
            <a:lvl1pPr>
              <a:defRPr lang="en-US" sz="1806" dirty="0" smtClean="0">
                <a:solidFill>
                  <a:schemeClr val="tx1"/>
                </a:solidFill>
              </a:defRPr>
            </a:lvl1pPr>
            <a:lvl2pPr>
              <a:spcAft>
                <a:spcPts val="600"/>
              </a:spcAft>
              <a:defRPr lang="en-US" sz="1500" dirty="0" smtClean="0">
                <a:solidFill>
                  <a:schemeClr val="tx1"/>
                </a:solidFill>
              </a:defRPr>
            </a:lvl2pPr>
            <a:lvl3pPr>
              <a:defRPr lang="en-US" sz="1349" dirty="0" smtClean="0">
                <a:solidFill>
                  <a:schemeClr val="tx1"/>
                </a:solidFill>
              </a:defRPr>
            </a:lvl3pPr>
            <a:lvl4pPr>
              <a:defRPr lang="en-US" sz="1049" dirty="0" smtClean="0">
                <a:solidFill>
                  <a:schemeClr val="tx1"/>
                </a:solidFill>
              </a:defRPr>
            </a:lvl4pPr>
            <a:lvl5pPr>
              <a:defRPr lang="en-US" sz="1049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0574" y="1104900"/>
            <a:ext cx="11586632" cy="628650"/>
          </a:xfrm>
        </p:spPr>
        <p:txBody>
          <a:bodyPr/>
          <a:lstStyle>
            <a:lvl1pPr marL="0" indent="0">
              <a:lnSpc>
                <a:spcPts val="2196"/>
              </a:lnSpc>
              <a:spcBef>
                <a:spcPts val="0"/>
              </a:spcBef>
              <a:buNone/>
              <a:defRPr sz="1954">
                <a:solidFill>
                  <a:schemeClr val="accent2"/>
                </a:solidFill>
              </a:defRPr>
            </a:lvl1pPr>
            <a:lvl2pPr marL="456321" indent="0">
              <a:buNone/>
              <a:defRPr/>
            </a:lvl2pPr>
            <a:lvl3pPr marL="968095" indent="0">
              <a:buNone/>
              <a:defRPr/>
            </a:lvl3pPr>
            <a:lvl4pPr marL="1368957" indent="0">
              <a:buNone/>
              <a:defRPr/>
            </a:lvl4pPr>
            <a:lvl5pPr marL="1825278" indent="0"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417222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ubtitle, Content, and Image with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02790" y="-114300"/>
            <a:ext cx="11584411" cy="1109663"/>
          </a:xfrm>
          <a:prstGeom prst="rect">
            <a:avLst/>
          </a:prstGeom>
        </p:spPr>
        <p:txBody>
          <a:bodyPr/>
          <a:lstStyle>
            <a:lvl1pPr>
              <a:defRPr sz="35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00571" y="1733553"/>
            <a:ext cx="7134300" cy="3736201"/>
          </a:xfrm>
          <a:prstGeom prst="rect">
            <a:avLst/>
          </a:prstGeom>
        </p:spPr>
        <p:txBody>
          <a:bodyPr vert="horz" lIns="121710" tIns="60856" rIns="121710" bIns="60856" rtlCol="0">
            <a:noAutofit/>
          </a:bodyPr>
          <a:lstStyle>
            <a:lvl1pPr>
              <a:defRPr lang="en-US" sz="2400" dirty="0" smtClean="0">
                <a:solidFill>
                  <a:schemeClr val="tx1"/>
                </a:solidFill>
              </a:defRPr>
            </a:lvl1pPr>
            <a:lvl2pPr>
              <a:spcAft>
                <a:spcPts val="797"/>
              </a:spcAft>
              <a:defRPr lang="en-US" sz="1995" dirty="0" smtClean="0">
                <a:solidFill>
                  <a:schemeClr val="tx1"/>
                </a:solidFill>
              </a:defRPr>
            </a:lvl2pPr>
            <a:lvl3pPr>
              <a:defRPr lang="en-US" sz="1795" dirty="0" smtClean="0">
                <a:solidFill>
                  <a:schemeClr val="tx1"/>
                </a:solidFill>
              </a:defRPr>
            </a:lvl3pPr>
            <a:lvl4pPr>
              <a:defRPr lang="en-US" sz="1396" dirty="0" smtClean="0">
                <a:solidFill>
                  <a:schemeClr val="tx1"/>
                </a:solidFill>
              </a:defRPr>
            </a:lvl4pPr>
            <a:lvl5pPr>
              <a:defRPr lang="en-US" sz="1396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00571" y="1104900"/>
            <a:ext cx="7134300" cy="628650"/>
          </a:xfrm>
        </p:spPr>
        <p:txBody>
          <a:bodyPr/>
          <a:lstStyle>
            <a:lvl1pPr marL="0" indent="0">
              <a:lnSpc>
                <a:spcPts val="2920"/>
              </a:lnSpc>
              <a:spcBef>
                <a:spcPts val="0"/>
              </a:spcBef>
              <a:buNone/>
              <a:defRPr sz="2599">
                <a:solidFill>
                  <a:schemeClr val="accent2"/>
                </a:solidFill>
              </a:defRPr>
            </a:lvl1pPr>
            <a:lvl2pPr marL="606844" indent="0">
              <a:buNone/>
              <a:defRPr/>
            </a:lvl2pPr>
            <a:lvl3pPr marL="1287432" indent="0">
              <a:buNone/>
              <a:defRPr/>
            </a:lvl3pPr>
            <a:lvl4pPr marL="1820524" indent="0">
              <a:buNone/>
              <a:defRPr/>
            </a:lvl4pPr>
            <a:lvl5pPr marL="2427367" indent="0">
              <a:buNone/>
              <a:defRPr/>
            </a:lvl5pPr>
          </a:lstStyle>
          <a:p>
            <a:pPr lvl="0"/>
            <a:r>
              <a:rPr lang="en-US" dirty="0"/>
              <a:t>Click to add subhead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462" y="5661302"/>
            <a:ext cx="11276247" cy="647550"/>
          </a:xfrm>
          <a:solidFill>
            <a:schemeClr val="tx2"/>
          </a:solidFill>
          <a:ln>
            <a:noFill/>
          </a:ln>
          <a:effectLst/>
        </p:spPr>
        <p:txBody>
          <a:bodyPr lIns="108000" tIns="36000" rIns="108000" bIns="72000" anchor="ctr"/>
          <a:lstStyle>
            <a:lvl1pPr marL="0" indent="0" algn="ctr">
              <a:buNone/>
              <a:defRPr sz="2400" b="1">
                <a:solidFill>
                  <a:srgbClr val="FFFFFF"/>
                </a:solidFill>
              </a:defRPr>
            </a:lvl1pPr>
            <a:lvl2pPr>
              <a:defRPr b="1">
                <a:solidFill>
                  <a:srgbClr val="FFFFFF"/>
                </a:solidFill>
              </a:defRPr>
            </a:lvl2pPr>
            <a:lvl3pPr>
              <a:defRPr b="1">
                <a:solidFill>
                  <a:srgbClr val="FFFFFF"/>
                </a:solidFill>
              </a:defRPr>
            </a:lvl3pPr>
            <a:lvl4pPr>
              <a:defRPr b="1">
                <a:solidFill>
                  <a:srgbClr val="FFFFFF"/>
                </a:solidFill>
              </a:defRPr>
            </a:lvl4pPr>
            <a:lvl5pPr>
              <a:defRPr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754484" y="6474164"/>
            <a:ext cx="9383301" cy="36504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rgbClr val="B6D0CF"/>
                </a:solidFill>
              </a:rPr>
              <a:t>Delphi Confidential</a:t>
            </a:r>
            <a:endParaRPr lang="en-US" dirty="0">
              <a:solidFill>
                <a:srgbClr val="B6D0C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302793" y="6474163"/>
            <a:ext cx="538574" cy="365125"/>
          </a:xfrm>
          <a:prstGeom prst="rect">
            <a:avLst/>
          </a:prstGeom>
        </p:spPr>
        <p:txBody>
          <a:bodyPr/>
          <a:lstStyle/>
          <a:p>
            <a:pPr defTabSz="606961"/>
            <a:fld id="{A43139FB-0DEB-4527-9CBA-1C326F5D9B41}" type="slidenum">
              <a:rPr lang="en-US" smtClean="0">
                <a:solidFill>
                  <a:srgbClr val="000000"/>
                </a:solidFill>
              </a:rPr>
              <a:pPr defTabSz="60696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083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40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00075"/>
            <a:ext cx="10972800" cy="6873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97051"/>
            <a:ext cx="5384800" cy="43338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797050"/>
            <a:ext cx="5384800" cy="20907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4040189"/>
            <a:ext cx="5384800" cy="2090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421218" y="6456364"/>
            <a:ext cx="842433" cy="2317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F65EFE0-960C-4DBC-9CFC-75DEAD4E80D1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532047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49"/>
            <a:ext cx="4011084" cy="1162051"/>
          </a:xfrm>
        </p:spPr>
        <p:txBody>
          <a:bodyPr anchor="b"/>
          <a:lstStyle>
            <a:lvl1pPr algn="l">
              <a:defRPr sz="2267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5" y="273053"/>
            <a:ext cx="6815667" cy="615219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267"/>
            </a:lvl3pPr>
            <a:lvl4pPr>
              <a:defRPr sz="2000"/>
            </a:lvl4pPr>
            <a:lvl5pPr>
              <a:defRPr sz="1867"/>
            </a:lvl5pPr>
            <a:lvl6pPr>
              <a:defRPr sz="2267"/>
            </a:lvl6pPr>
            <a:lvl7pPr>
              <a:defRPr sz="2267"/>
            </a:lvl7pPr>
            <a:lvl8pPr>
              <a:defRPr sz="2267"/>
            </a:lvl8pPr>
            <a:lvl9pPr>
              <a:defRPr sz="2267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5005259"/>
          </a:xfrm>
        </p:spPr>
        <p:txBody>
          <a:bodyPr/>
          <a:lstStyle>
            <a:lvl1pPr marL="0" indent="0">
              <a:buNone/>
              <a:defRPr sz="1867"/>
            </a:lvl1pPr>
            <a:lvl2pPr marL="519488" indent="0">
              <a:buNone/>
              <a:defRPr sz="1333"/>
            </a:lvl2pPr>
            <a:lvl3pPr marL="1038977" indent="0">
              <a:buNone/>
              <a:defRPr sz="1200"/>
            </a:lvl3pPr>
            <a:lvl4pPr marL="1558465" indent="0">
              <a:buNone/>
              <a:defRPr sz="1067"/>
            </a:lvl4pPr>
            <a:lvl5pPr marL="2077952" indent="0">
              <a:buNone/>
              <a:defRPr sz="1067"/>
            </a:lvl5pPr>
            <a:lvl6pPr marL="2597440" indent="0">
              <a:buNone/>
              <a:defRPr sz="1067"/>
            </a:lvl6pPr>
            <a:lvl7pPr marL="3116929" indent="0">
              <a:buNone/>
              <a:defRPr sz="1067"/>
            </a:lvl7pPr>
            <a:lvl8pPr marL="3636417" indent="0">
              <a:buNone/>
              <a:defRPr sz="1067"/>
            </a:lvl8pPr>
            <a:lvl9pPr marL="4155905" indent="0">
              <a:buNone/>
              <a:defRPr sz="1067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464BF9D-09F1-0745-892E-F082D0B8385C}" type="slidenum">
              <a:rPr lang="en-US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AB3A78-5E4C-45FD-8496-02DECF92D6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3172" y="138391"/>
            <a:ext cx="1254195" cy="654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550666"/>
      </p:ext>
    </p:extLst>
  </p:cSld>
  <p:clrMapOvr>
    <a:masterClrMapping/>
  </p:clrMapOvr>
  <p:transition spd="med">
    <p:zoom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790" y="-114297"/>
            <a:ext cx="11584411" cy="11096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300572" y="1116680"/>
            <a:ext cx="11586633" cy="5150771"/>
          </a:xfrm>
          <a:prstGeom prst="rect">
            <a:avLst/>
          </a:prstGeom>
        </p:spPr>
        <p:txBody>
          <a:bodyPr vert="horz" lIns="91389" tIns="45696" rIns="91389" bIns="45696" rtlCol="0">
            <a:noAutofit/>
          </a:bodyPr>
          <a:lstStyle>
            <a:lvl1pPr>
              <a:defRPr lang="en-US" sz="2000" dirty="0" smtClean="0">
                <a:solidFill>
                  <a:srgbClr val="080808"/>
                </a:solidFill>
              </a:defRPr>
            </a:lvl1pPr>
            <a:lvl2pPr>
              <a:spcAft>
                <a:spcPts val="600"/>
              </a:spcAft>
              <a:defRPr lang="en-US" sz="1800" dirty="0" smtClean="0">
                <a:solidFill>
                  <a:srgbClr val="080808"/>
                </a:solidFill>
              </a:defRPr>
            </a:lvl2pPr>
            <a:lvl3pPr>
              <a:defRPr lang="en-US" sz="1400" dirty="0" smtClean="0">
                <a:solidFill>
                  <a:srgbClr val="080808"/>
                </a:solidFill>
              </a:defRPr>
            </a:lvl3pPr>
            <a:lvl4pPr>
              <a:defRPr lang="en-US" sz="1200" dirty="0" smtClean="0">
                <a:solidFill>
                  <a:srgbClr val="080808"/>
                </a:solidFill>
              </a:defRPr>
            </a:lvl4pPr>
            <a:lvl5pPr>
              <a:defRPr lang="en-US" sz="1200" dirty="0">
                <a:solidFill>
                  <a:srgbClr val="08080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-94074" y="6496384"/>
            <a:ext cx="538574" cy="365125"/>
          </a:xfrm>
          <a:prstGeom prst="rect">
            <a:avLst/>
          </a:prstGeom>
        </p:spPr>
        <p:txBody>
          <a:bodyPr vert="horz" lIns="91389" tIns="45696" rIns="91389" bIns="45696" rtlCol="0" anchor="ctr"/>
          <a:lstStyle>
            <a:lvl1pPr algn="r">
              <a:defRPr sz="8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fld id="{A43139FB-0DEB-4527-9CBA-1C326F5D9B41}" type="slidenum">
              <a:rPr lang="en-US" smtClean="0">
                <a:solidFill>
                  <a:srgbClr val="0072DD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>
              <a:solidFill>
                <a:srgbClr val="0072DD">
                  <a:lumMod val="60000"/>
                  <a:lumOff val="40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02791" y="6287966"/>
            <a:ext cx="9265845" cy="342900"/>
          </a:xfrm>
        </p:spPr>
        <p:txBody>
          <a:bodyPr vert="horz" lIns="91389" tIns="45696" rIns="91389" bIns="45696" rtlCol="0" anchor="b" anchorCtr="0">
            <a:noAutofit/>
          </a:bodyPr>
          <a:lstStyle>
            <a:lvl1pPr marL="266607" indent="-266607">
              <a:lnSpc>
                <a:spcPts val="900"/>
              </a:lnSpc>
              <a:spcBef>
                <a:spcPts val="100"/>
              </a:spcBef>
              <a:spcAft>
                <a:spcPts val="0"/>
              </a:spcAft>
              <a:buNone/>
              <a:defRPr lang="en-CA" sz="800" baseline="0" dirty="0"/>
            </a:lvl1pPr>
          </a:lstStyle>
          <a:p>
            <a:pPr marL="0" lvl="0" indent="0"/>
            <a:r>
              <a:rPr lang="en-US" dirty="0"/>
              <a:t>Click to add footnot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5747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984245"/>
            <a:ext cx="8615680" cy="1618132"/>
          </a:xfrm>
        </p:spPr>
        <p:txBody>
          <a:bodyPr>
            <a:noAutofit/>
          </a:bodyPr>
          <a:lstStyle>
            <a:lvl1pPr>
              <a:defRPr sz="6000" b="1" i="0" cap="none" spc="-150" baseline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6304680"/>
            <a:ext cx="2744788" cy="304800"/>
          </a:xfrm>
        </p:spPr>
        <p:txBody>
          <a:bodyPr>
            <a:normAutofit/>
          </a:bodyPr>
          <a:lstStyle>
            <a:lvl1pPr>
              <a:defRPr sz="1400" b="0" i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5147980"/>
            <a:ext cx="3962400" cy="304800"/>
          </a:xfrm>
        </p:spPr>
        <p:txBody>
          <a:bodyPr>
            <a:normAutofit/>
          </a:bodyPr>
          <a:lstStyle>
            <a:lvl1pPr>
              <a:defRPr sz="1800" b="1" i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452780"/>
            <a:ext cx="3962400" cy="304800"/>
          </a:xfrm>
        </p:spPr>
        <p:txBody>
          <a:bodyPr>
            <a:normAutofit/>
          </a:bodyPr>
          <a:lstStyle>
            <a:lvl1pPr>
              <a:defRPr sz="1600" b="0" i="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 Tit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063" y="6304680"/>
            <a:ext cx="1600201" cy="360406"/>
          </a:xfrm>
          <a:prstGeom prst="rect">
            <a:avLst/>
          </a:prstGeom>
        </p:spPr>
      </p:pic>
      <p:sp>
        <p:nvSpPr>
          <p:cNvPr id="19" name="Oval 18"/>
          <p:cNvSpPr/>
          <p:nvPr userDrawn="1"/>
        </p:nvSpPr>
        <p:spPr>
          <a:xfrm>
            <a:off x="-241739" y="2183505"/>
            <a:ext cx="491358" cy="491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3" b="1" dirty="0">
              <a:solidFill>
                <a:srgbClr val="FFFFFF"/>
              </a:solidFill>
              <a:latin typeface="Formular" charset="0"/>
              <a:ea typeface="Formular" charset="0"/>
              <a:cs typeface="Formular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14952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eat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 userDrawn="1"/>
        </p:nvSpPr>
        <p:spPr>
          <a:xfrm flipH="1">
            <a:off x="-233992" y="587269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A87D671-CAB2-A94C-AD70-3F2359CFAF6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1905000"/>
            <a:ext cx="10969246" cy="371061"/>
          </a:xfrm>
        </p:spPr>
        <p:txBody>
          <a:bodyPr bIns="182880">
            <a:noAutofit/>
          </a:bodyPr>
          <a:lstStyle>
            <a:lvl1pPr>
              <a:defRPr sz="24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  <a:lvl2pPr>
              <a:defRPr sz="16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2pPr>
            <a:lvl3pPr>
              <a:defRPr sz="24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3pPr>
            <a:lvl4pPr>
              <a:defRPr sz="18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4pPr>
            <a:lvl5pPr>
              <a:defRPr sz="1200"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Header 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41ADC9-62ED-AA4C-9DA3-96485A68288F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09600" y="2374900"/>
            <a:ext cx="10969625" cy="319088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Header 3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880ABC-810D-C448-A7DD-315D79F9BF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" y="3041650"/>
            <a:ext cx="10969625" cy="307975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en-US" dirty="0"/>
              <a:t>Copy 1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8A7EAF1-3751-BD4C-83AF-BEA368F1F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16835"/>
            <a:ext cx="10969246" cy="1173853"/>
          </a:xfrm>
          <a:prstGeom prst="rect">
            <a:avLst/>
          </a:prstGeom>
        </p:spPr>
        <p:txBody>
          <a:bodyPr/>
          <a:lstStyle>
            <a:lvl1pPr algn="l">
              <a:defRPr sz="3200" b="1" spc="-1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1D43AB22-8FB0-4B46-A0E9-7D091D7963E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" y="3489325"/>
            <a:ext cx="10969625" cy="287338"/>
          </a:xfrm>
        </p:spPr>
        <p:txBody>
          <a:bodyPr>
            <a:noAutofit/>
          </a:bodyPr>
          <a:lstStyle>
            <a:lvl1pPr>
              <a:defRPr sz="1200" b="0"/>
            </a:lvl1pPr>
            <a:lvl2pPr>
              <a:defRPr sz="1200" b="0"/>
            </a:lvl2pPr>
            <a:lvl3pPr>
              <a:defRPr sz="1200" b="0"/>
            </a:lvl3pPr>
            <a:lvl4pPr>
              <a:defRPr sz="1200" b="0"/>
            </a:lvl4pPr>
            <a:lvl5pPr>
              <a:defRPr sz="1200" b="0"/>
            </a:lvl5pPr>
          </a:lstStyle>
          <a:p>
            <a:pPr lvl="0"/>
            <a:r>
              <a:rPr lang="en-US" dirty="0"/>
              <a:t>Copy 2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3106860-2F44-144A-98E3-5B31753B95A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9600" y="3856038"/>
            <a:ext cx="10969625" cy="804862"/>
          </a:xfrm>
        </p:spPr>
        <p:txBody>
          <a:bodyPr>
            <a:normAutofit/>
          </a:bodyPr>
          <a:lstStyle>
            <a:lvl1pPr marL="171450" indent="-171450">
              <a:buClr>
                <a:schemeClr val="accent1"/>
              </a:buClr>
              <a:buFont typeface="Arial" panose="020B0604020202020204" pitchFamily="34" charset="0"/>
              <a:buChar char="•"/>
              <a:defRPr sz="1200" b="0"/>
            </a:lvl1pPr>
          </a:lstStyle>
          <a:p>
            <a:pPr lvl="0"/>
            <a:r>
              <a:rPr lang="en-US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87705361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eat 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5"/>
          <p:cNvSpPr/>
          <p:nvPr userDrawn="1"/>
        </p:nvSpPr>
        <p:spPr>
          <a:xfrm flipH="1">
            <a:off x="-233992" y="587269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C8A7EAF1-3751-BD4C-83AF-BEA368F1FF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516835"/>
            <a:ext cx="10969246" cy="1173853"/>
          </a:xfrm>
          <a:prstGeom prst="rect">
            <a:avLst/>
          </a:prstGeom>
        </p:spPr>
        <p:txBody>
          <a:bodyPr/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yle Elements – For Reference Only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E9574EB-3D65-6543-9BC6-02EC808C7E2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965575" y="6421438"/>
            <a:ext cx="3975100" cy="436562"/>
          </a:xfrm>
        </p:spPr>
        <p:txBody>
          <a:bodyPr>
            <a:normAutofit/>
          </a:bodyPr>
          <a:lstStyle>
            <a:lvl1pPr algn="ctr">
              <a:defRPr sz="1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ation Name • Date • Confidential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BA65895-6493-C94C-8377-AB3DDE97FB61}"/>
              </a:ext>
            </a:extLst>
          </p:cNvPr>
          <p:cNvCxnSpPr>
            <a:cxnSpLocks/>
          </p:cNvCxnSpPr>
          <p:nvPr userDrawn="1"/>
        </p:nvCxnSpPr>
        <p:spPr>
          <a:xfrm>
            <a:off x="609600" y="2186609"/>
            <a:ext cx="10969246" cy="0"/>
          </a:xfrm>
          <a:prstGeom prst="line">
            <a:avLst/>
          </a:prstGeom>
          <a:ln w="9525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144AECE0-861E-0945-B622-51B72A4B9C9D}"/>
              </a:ext>
            </a:extLst>
          </p:cNvPr>
          <p:cNvSpPr/>
          <p:nvPr userDrawn="1"/>
        </p:nvSpPr>
        <p:spPr>
          <a:xfrm flipH="1">
            <a:off x="773174" y="2558530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A0BDD2A-CE6F-D749-BB47-063D7312CD90}"/>
              </a:ext>
            </a:extLst>
          </p:cNvPr>
          <p:cNvSpPr/>
          <p:nvPr userDrawn="1"/>
        </p:nvSpPr>
        <p:spPr>
          <a:xfrm flipH="1">
            <a:off x="1299948" y="2558530"/>
            <a:ext cx="467984" cy="45224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79F25BA-8A93-A545-861E-378A2CE04157}"/>
              </a:ext>
            </a:extLst>
          </p:cNvPr>
          <p:cNvSpPr/>
          <p:nvPr userDrawn="1"/>
        </p:nvSpPr>
        <p:spPr>
          <a:xfrm flipH="1">
            <a:off x="1826722" y="2558530"/>
            <a:ext cx="467984" cy="45224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  <p:sp>
        <p:nvSpPr>
          <p:cNvPr id="19" name="Freeform 31">
            <a:extLst>
              <a:ext uri="{FF2B5EF4-FFF2-40B4-BE49-F238E27FC236}">
                <a16:creationId xmlns:a16="http://schemas.microsoft.com/office/drawing/2014/main" id="{591E5C02-4DF5-8E47-B46A-8A7C373680F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73174" y="3484442"/>
            <a:ext cx="818673" cy="819582"/>
          </a:xfrm>
          <a:custGeom>
            <a:avLst/>
            <a:gdLst>
              <a:gd name="T0" fmla="*/ 1408 w 1652"/>
              <a:gd name="T1" fmla="*/ 241 h 1652"/>
              <a:gd name="T2" fmla="*/ 1227 w 1652"/>
              <a:gd name="T3" fmla="*/ 278 h 1652"/>
              <a:gd name="T4" fmla="*/ 1189 w 1652"/>
              <a:gd name="T5" fmla="*/ 209 h 1652"/>
              <a:gd name="T6" fmla="*/ 882 w 1652"/>
              <a:gd name="T7" fmla="*/ 372 h 1652"/>
              <a:gd name="T8" fmla="*/ 1184 w 1652"/>
              <a:gd name="T9" fmla="*/ 295 h 1652"/>
              <a:gd name="T10" fmla="*/ 909 w 1652"/>
              <a:gd name="T11" fmla="*/ 4 h 1652"/>
              <a:gd name="T12" fmla="*/ 848 w 1652"/>
              <a:gd name="T13" fmla="*/ 338 h 1652"/>
              <a:gd name="T14" fmla="*/ 804 w 1652"/>
              <a:gd name="T15" fmla="*/ 452 h 1652"/>
              <a:gd name="T16" fmla="*/ 475 w 1652"/>
              <a:gd name="T17" fmla="*/ 375 h 1652"/>
              <a:gd name="T18" fmla="*/ 362 w 1652"/>
              <a:gd name="T19" fmla="*/ 770 h 1652"/>
              <a:gd name="T20" fmla="*/ 769 w 1652"/>
              <a:gd name="T21" fmla="*/ 804 h 1652"/>
              <a:gd name="T22" fmla="*/ 804 w 1652"/>
              <a:gd name="T23" fmla="*/ 452 h 1652"/>
              <a:gd name="T24" fmla="*/ 1177 w 1652"/>
              <a:gd name="T25" fmla="*/ 375 h 1652"/>
              <a:gd name="T26" fmla="*/ 848 w 1652"/>
              <a:gd name="T27" fmla="*/ 452 h 1652"/>
              <a:gd name="T28" fmla="*/ 883 w 1652"/>
              <a:gd name="T29" fmla="*/ 804 h 1652"/>
              <a:gd name="T30" fmla="*/ 1290 w 1652"/>
              <a:gd name="T31" fmla="*/ 770 h 1652"/>
              <a:gd name="T32" fmla="*/ 769 w 1652"/>
              <a:gd name="T33" fmla="*/ 848 h 1652"/>
              <a:gd name="T34" fmla="*/ 362 w 1652"/>
              <a:gd name="T35" fmla="*/ 882 h 1652"/>
              <a:gd name="T36" fmla="*/ 475 w 1652"/>
              <a:gd name="T37" fmla="*/ 1277 h 1652"/>
              <a:gd name="T38" fmla="*/ 804 w 1652"/>
              <a:gd name="T39" fmla="*/ 1200 h 1652"/>
              <a:gd name="T40" fmla="*/ 769 w 1652"/>
              <a:gd name="T41" fmla="*/ 848 h 1652"/>
              <a:gd name="T42" fmla="*/ 1184 w 1652"/>
              <a:gd name="T43" fmla="*/ 1357 h 1652"/>
              <a:gd name="T44" fmla="*/ 882 w 1652"/>
              <a:gd name="T45" fmla="*/ 1280 h 1652"/>
              <a:gd name="T46" fmla="*/ 848 w 1652"/>
              <a:gd name="T47" fmla="*/ 1652 h 1652"/>
              <a:gd name="T48" fmla="*/ 1151 w 1652"/>
              <a:gd name="T49" fmla="*/ 1421 h 1652"/>
              <a:gd name="T50" fmla="*/ 1256 w 1652"/>
              <a:gd name="T51" fmla="*/ 848 h 1652"/>
              <a:gd name="T52" fmla="*/ 848 w 1652"/>
              <a:gd name="T53" fmla="*/ 883 h 1652"/>
              <a:gd name="T54" fmla="*/ 883 w 1652"/>
              <a:gd name="T55" fmla="*/ 1236 h 1652"/>
              <a:gd name="T56" fmla="*/ 1225 w 1652"/>
              <a:gd name="T57" fmla="*/ 1252 h 1652"/>
              <a:gd name="T58" fmla="*/ 1267 w 1652"/>
              <a:gd name="T59" fmla="*/ 385 h 1652"/>
              <a:gd name="T60" fmla="*/ 1370 w 1652"/>
              <a:gd name="T61" fmla="*/ 804 h 1652"/>
              <a:gd name="T62" fmla="*/ 1440 w 1652"/>
              <a:gd name="T63" fmla="*/ 274 h 1652"/>
              <a:gd name="T64" fmla="*/ 1267 w 1652"/>
              <a:gd name="T65" fmla="*/ 385 h 1652"/>
              <a:gd name="T66" fmla="*/ 1227 w 1652"/>
              <a:gd name="T67" fmla="*/ 1374 h 1652"/>
              <a:gd name="T68" fmla="*/ 1189 w 1652"/>
              <a:gd name="T69" fmla="*/ 1443 h 1652"/>
              <a:gd name="T70" fmla="*/ 1408 w 1652"/>
              <a:gd name="T71" fmla="*/ 1411 h 1652"/>
              <a:gd name="T72" fmla="*/ 463 w 1652"/>
              <a:gd name="T73" fmla="*/ 1443 h 1652"/>
              <a:gd name="T74" fmla="*/ 426 w 1652"/>
              <a:gd name="T75" fmla="*/ 1374 h 1652"/>
              <a:gd name="T76" fmla="*/ 244 w 1652"/>
              <a:gd name="T77" fmla="*/ 1411 h 1652"/>
              <a:gd name="T78" fmla="*/ 463 w 1652"/>
              <a:gd name="T79" fmla="*/ 1443 h 1652"/>
              <a:gd name="T80" fmla="*/ 486 w 1652"/>
              <a:gd name="T81" fmla="*/ 1319 h 1652"/>
              <a:gd name="T82" fmla="*/ 501 w 1652"/>
              <a:gd name="T83" fmla="*/ 1421 h 1652"/>
              <a:gd name="T84" fmla="*/ 804 w 1652"/>
              <a:gd name="T85" fmla="*/ 1652 h 1652"/>
              <a:gd name="T86" fmla="*/ 770 w 1652"/>
              <a:gd name="T87" fmla="*/ 1280 h 1652"/>
              <a:gd name="T88" fmla="*/ 1334 w 1652"/>
              <a:gd name="T89" fmla="*/ 883 h 1652"/>
              <a:gd name="T90" fmla="*/ 1287 w 1652"/>
              <a:gd name="T91" fmla="*/ 1310 h 1652"/>
              <a:gd name="T92" fmla="*/ 1652 w 1652"/>
              <a:gd name="T93" fmla="*/ 848 h 1652"/>
              <a:gd name="T94" fmla="*/ 804 w 1652"/>
              <a:gd name="T95" fmla="*/ 0 h 1652"/>
              <a:gd name="T96" fmla="*/ 501 w 1652"/>
              <a:gd name="T97" fmla="*/ 231 h 1652"/>
              <a:gd name="T98" fmla="*/ 486 w 1652"/>
              <a:gd name="T99" fmla="*/ 333 h 1652"/>
              <a:gd name="T100" fmla="*/ 804 w 1652"/>
              <a:gd name="T101" fmla="*/ 338 h 1652"/>
              <a:gd name="T102" fmla="*/ 378 w 1652"/>
              <a:gd name="T103" fmla="*/ 300 h 1652"/>
              <a:gd name="T104" fmla="*/ 427 w 1652"/>
              <a:gd name="T105" fmla="*/ 278 h 1652"/>
              <a:gd name="T106" fmla="*/ 610 w 1652"/>
              <a:gd name="T107" fmla="*/ 29 h 1652"/>
              <a:gd name="T108" fmla="*/ 378 w 1652"/>
              <a:gd name="T109" fmla="*/ 300 h 1652"/>
              <a:gd name="T110" fmla="*/ 318 w 1652"/>
              <a:gd name="T111" fmla="*/ 769 h 1652"/>
              <a:gd name="T112" fmla="*/ 365 w 1652"/>
              <a:gd name="T113" fmla="*/ 342 h 1652"/>
              <a:gd name="T114" fmla="*/ 0 w 1652"/>
              <a:gd name="T115" fmla="*/ 804 h 1652"/>
              <a:gd name="T116" fmla="*/ 385 w 1652"/>
              <a:gd name="T117" fmla="*/ 1267 h 1652"/>
              <a:gd name="T118" fmla="*/ 282 w 1652"/>
              <a:gd name="T119" fmla="*/ 848 h 1652"/>
              <a:gd name="T120" fmla="*/ 212 w 1652"/>
              <a:gd name="T121" fmla="*/ 1378 h 1652"/>
              <a:gd name="T122" fmla="*/ 385 w 1652"/>
              <a:gd name="T123" fmla="*/ 1267 h 16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52" h="1652">
                <a:moveTo>
                  <a:pt x="1042" y="29"/>
                </a:moveTo>
                <a:cubicBezTo>
                  <a:pt x="1182" y="67"/>
                  <a:pt x="1308" y="141"/>
                  <a:pt x="1408" y="241"/>
                </a:cubicBezTo>
                <a:cubicBezTo>
                  <a:pt x="1367" y="263"/>
                  <a:pt x="1321" y="283"/>
                  <a:pt x="1274" y="300"/>
                </a:cubicBezTo>
                <a:cubicBezTo>
                  <a:pt x="1262" y="287"/>
                  <a:pt x="1245" y="278"/>
                  <a:pt x="1227" y="278"/>
                </a:cubicBezTo>
                <a:cubicBezTo>
                  <a:pt x="1226" y="278"/>
                  <a:pt x="1225" y="278"/>
                  <a:pt x="1225" y="278"/>
                </a:cubicBezTo>
                <a:cubicBezTo>
                  <a:pt x="1214" y="254"/>
                  <a:pt x="1202" y="231"/>
                  <a:pt x="1189" y="209"/>
                </a:cubicBezTo>
                <a:cubicBezTo>
                  <a:pt x="1146" y="133"/>
                  <a:pt x="1096" y="73"/>
                  <a:pt x="1042" y="29"/>
                </a:cubicBezTo>
                <a:close/>
                <a:moveTo>
                  <a:pt x="882" y="372"/>
                </a:moveTo>
                <a:cubicBezTo>
                  <a:pt x="981" y="368"/>
                  <a:pt x="1077" y="355"/>
                  <a:pt x="1166" y="333"/>
                </a:cubicBezTo>
                <a:cubicBezTo>
                  <a:pt x="1167" y="318"/>
                  <a:pt x="1174" y="305"/>
                  <a:pt x="1184" y="295"/>
                </a:cubicBezTo>
                <a:cubicBezTo>
                  <a:pt x="1174" y="273"/>
                  <a:pt x="1163" y="251"/>
                  <a:pt x="1151" y="231"/>
                </a:cubicBezTo>
                <a:cubicBezTo>
                  <a:pt x="1083" y="112"/>
                  <a:pt x="1000" y="34"/>
                  <a:pt x="909" y="4"/>
                </a:cubicBezTo>
                <a:cubicBezTo>
                  <a:pt x="889" y="2"/>
                  <a:pt x="869" y="1"/>
                  <a:pt x="848" y="0"/>
                </a:cubicBezTo>
                <a:cubicBezTo>
                  <a:pt x="848" y="338"/>
                  <a:pt x="848" y="338"/>
                  <a:pt x="848" y="338"/>
                </a:cubicBezTo>
                <a:cubicBezTo>
                  <a:pt x="864" y="344"/>
                  <a:pt x="876" y="356"/>
                  <a:pt x="882" y="372"/>
                </a:cubicBezTo>
                <a:close/>
                <a:moveTo>
                  <a:pt x="804" y="452"/>
                </a:moveTo>
                <a:cubicBezTo>
                  <a:pt x="788" y="446"/>
                  <a:pt x="775" y="432"/>
                  <a:pt x="769" y="416"/>
                </a:cubicBezTo>
                <a:cubicBezTo>
                  <a:pt x="666" y="412"/>
                  <a:pt x="567" y="398"/>
                  <a:pt x="475" y="375"/>
                </a:cubicBezTo>
                <a:cubicBezTo>
                  <a:pt x="464" y="390"/>
                  <a:pt x="446" y="400"/>
                  <a:pt x="427" y="400"/>
                </a:cubicBezTo>
                <a:cubicBezTo>
                  <a:pt x="389" y="512"/>
                  <a:pt x="367" y="638"/>
                  <a:pt x="362" y="770"/>
                </a:cubicBezTo>
                <a:cubicBezTo>
                  <a:pt x="378" y="776"/>
                  <a:pt x="390" y="788"/>
                  <a:pt x="396" y="804"/>
                </a:cubicBezTo>
                <a:cubicBezTo>
                  <a:pt x="769" y="804"/>
                  <a:pt x="769" y="804"/>
                  <a:pt x="769" y="804"/>
                </a:cubicBezTo>
                <a:cubicBezTo>
                  <a:pt x="775" y="788"/>
                  <a:pt x="788" y="775"/>
                  <a:pt x="804" y="769"/>
                </a:cubicBezTo>
                <a:lnTo>
                  <a:pt x="804" y="452"/>
                </a:lnTo>
                <a:close/>
                <a:moveTo>
                  <a:pt x="1225" y="400"/>
                </a:moveTo>
                <a:cubicBezTo>
                  <a:pt x="1206" y="400"/>
                  <a:pt x="1188" y="390"/>
                  <a:pt x="1177" y="375"/>
                </a:cubicBezTo>
                <a:cubicBezTo>
                  <a:pt x="1085" y="398"/>
                  <a:pt x="986" y="412"/>
                  <a:pt x="883" y="416"/>
                </a:cubicBezTo>
                <a:cubicBezTo>
                  <a:pt x="877" y="432"/>
                  <a:pt x="864" y="446"/>
                  <a:pt x="848" y="452"/>
                </a:cubicBezTo>
                <a:cubicBezTo>
                  <a:pt x="848" y="769"/>
                  <a:pt x="848" y="769"/>
                  <a:pt x="848" y="769"/>
                </a:cubicBezTo>
                <a:cubicBezTo>
                  <a:pt x="864" y="775"/>
                  <a:pt x="877" y="788"/>
                  <a:pt x="883" y="804"/>
                </a:cubicBezTo>
                <a:cubicBezTo>
                  <a:pt x="1256" y="804"/>
                  <a:pt x="1256" y="804"/>
                  <a:pt x="1256" y="804"/>
                </a:cubicBezTo>
                <a:cubicBezTo>
                  <a:pt x="1262" y="788"/>
                  <a:pt x="1274" y="776"/>
                  <a:pt x="1290" y="770"/>
                </a:cubicBezTo>
                <a:cubicBezTo>
                  <a:pt x="1285" y="638"/>
                  <a:pt x="1263" y="512"/>
                  <a:pt x="1225" y="400"/>
                </a:cubicBezTo>
                <a:close/>
                <a:moveTo>
                  <a:pt x="769" y="848"/>
                </a:moveTo>
                <a:cubicBezTo>
                  <a:pt x="396" y="848"/>
                  <a:pt x="396" y="848"/>
                  <a:pt x="396" y="848"/>
                </a:cubicBezTo>
                <a:cubicBezTo>
                  <a:pt x="390" y="864"/>
                  <a:pt x="378" y="876"/>
                  <a:pt x="362" y="882"/>
                </a:cubicBezTo>
                <a:cubicBezTo>
                  <a:pt x="367" y="1014"/>
                  <a:pt x="389" y="1140"/>
                  <a:pt x="427" y="1252"/>
                </a:cubicBezTo>
                <a:cubicBezTo>
                  <a:pt x="446" y="1252"/>
                  <a:pt x="464" y="1262"/>
                  <a:pt x="475" y="1277"/>
                </a:cubicBezTo>
                <a:cubicBezTo>
                  <a:pt x="567" y="1254"/>
                  <a:pt x="666" y="1240"/>
                  <a:pt x="769" y="1236"/>
                </a:cubicBezTo>
                <a:cubicBezTo>
                  <a:pt x="775" y="1220"/>
                  <a:pt x="788" y="1206"/>
                  <a:pt x="804" y="1200"/>
                </a:cubicBezTo>
                <a:cubicBezTo>
                  <a:pt x="804" y="883"/>
                  <a:pt x="804" y="883"/>
                  <a:pt x="804" y="883"/>
                </a:cubicBezTo>
                <a:cubicBezTo>
                  <a:pt x="788" y="877"/>
                  <a:pt x="775" y="864"/>
                  <a:pt x="769" y="848"/>
                </a:cubicBezTo>
                <a:close/>
                <a:moveTo>
                  <a:pt x="1151" y="1421"/>
                </a:moveTo>
                <a:cubicBezTo>
                  <a:pt x="1163" y="1401"/>
                  <a:pt x="1174" y="1379"/>
                  <a:pt x="1184" y="1357"/>
                </a:cubicBezTo>
                <a:cubicBezTo>
                  <a:pt x="1174" y="1347"/>
                  <a:pt x="1167" y="1334"/>
                  <a:pt x="1166" y="1319"/>
                </a:cubicBezTo>
                <a:cubicBezTo>
                  <a:pt x="1077" y="1297"/>
                  <a:pt x="981" y="1284"/>
                  <a:pt x="882" y="1280"/>
                </a:cubicBezTo>
                <a:cubicBezTo>
                  <a:pt x="876" y="1296"/>
                  <a:pt x="864" y="1308"/>
                  <a:pt x="848" y="1314"/>
                </a:cubicBezTo>
                <a:cubicBezTo>
                  <a:pt x="848" y="1652"/>
                  <a:pt x="848" y="1652"/>
                  <a:pt x="848" y="1652"/>
                </a:cubicBezTo>
                <a:cubicBezTo>
                  <a:pt x="869" y="1651"/>
                  <a:pt x="889" y="1650"/>
                  <a:pt x="909" y="1648"/>
                </a:cubicBezTo>
                <a:cubicBezTo>
                  <a:pt x="1000" y="1618"/>
                  <a:pt x="1083" y="1540"/>
                  <a:pt x="1151" y="1421"/>
                </a:cubicBezTo>
                <a:close/>
                <a:moveTo>
                  <a:pt x="1290" y="882"/>
                </a:moveTo>
                <a:cubicBezTo>
                  <a:pt x="1274" y="876"/>
                  <a:pt x="1262" y="864"/>
                  <a:pt x="1256" y="848"/>
                </a:cubicBezTo>
                <a:cubicBezTo>
                  <a:pt x="883" y="848"/>
                  <a:pt x="883" y="848"/>
                  <a:pt x="883" y="848"/>
                </a:cubicBezTo>
                <a:cubicBezTo>
                  <a:pt x="877" y="864"/>
                  <a:pt x="864" y="877"/>
                  <a:pt x="848" y="883"/>
                </a:cubicBezTo>
                <a:cubicBezTo>
                  <a:pt x="848" y="1200"/>
                  <a:pt x="848" y="1200"/>
                  <a:pt x="848" y="1200"/>
                </a:cubicBezTo>
                <a:cubicBezTo>
                  <a:pt x="864" y="1206"/>
                  <a:pt x="877" y="1220"/>
                  <a:pt x="883" y="1236"/>
                </a:cubicBezTo>
                <a:cubicBezTo>
                  <a:pt x="986" y="1240"/>
                  <a:pt x="1085" y="1254"/>
                  <a:pt x="1177" y="1277"/>
                </a:cubicBezTo>
                <a:cubicBezTo>
                  <a:pt x="1188" y="1262"/>
                  <a:pt x="1206" y="1252"/>
                  <a:pt x="1225" y="1252"/>
                </a:cubicBezTo>
                <a:cubicBezTo>
                  <a:pt x="1263" y="1140"/>
                  <a:pt x="1285" y="1014"/>
                  <a:pt x="1290" y="882"/>
                </a:cubicBezTo>
                <a:close/>
                <a:moveTo>
                  <a:pt x="1267" y="385"/>
                </a:moveTo>
                <a:cubicBezTo>
                  <a:pt x="1306" y="501"/>
                  <a:pt x="1329" y="632"/>
                  <a:pt x="1334" y="769"/>
                </a:cubicBezTo>
                <a:cubicBezTo>
                  <a:pt x="1350" y="775"/>
                  <a:pt x="1363" y="788"/>
                  <a:pt x="1370" y="804"/>
                </a:cubicBezTo>
                <a:cubicBezTo>
                  <a:pt x="1652" y="804"/>
                  <a:pt x="1652" y="804"/>
                  <a:pt x="1652" y="804"/>
                </a:cubicBezTo>
                <a:cubicBezTo>
                  <a:pt x="1646" y="600"/>
                  <a:pt x="1567" y="415"/>
                  <a:pt x="1440" y="274"/>
                </a:cubicBezTo>
                <a:cubicBezTo>
                  <a:pt x="1393" y="300"/>
                  <a:pt x="1342" y="323"/>
                  <a:pt x="1287" y="342"/>
                </a:cubicBezTo>
                <a:cubicBezTo>
                  <a:pt x="1286" y="359"/>
                  <a:pt x="1279" y="374"/>
                  <a:pt x="1267" y="385"/>
                </a:cubicBezTo>
                <a:close/>
                <a:moveTo>
                  <a:pt x="1274" y="1352"/>
                </a:moveTo>
                <a:cubicBezTo>
                  <a:pt x="1262" y="1365"/>
                  <a:pt x="1245" y="1374"/>
                  <a:pt x="1227" y="1374"/>
                </a:cubicBezTo>
                <a:cubicBezTo>
                  <a:pt x="1226" y="1374"/>
                  <a:pt x="1225" y="1374"/>
                  <a:pt x="1225" y="1374"/>
                </a:cubicBezTo>
                <a:cubicBezTo>
                  <a:pt x="1214" y="1398"/>
                  <a:pt x="1202" y="1421"/>
                  <a:pt x="1189" y="1443"/>
                </a:cubicBezTo>
                <a:cubicBezTo>
                  <a:pt x="1146" y="1519"/>
                  <a:pt x="1096" y="1579"/>
                  <a:pt x="1042" y="1623"/>
                </a:cubicBezTo>
                <a:cubicBezTo>
                  <a:pt x="1182" y="1585"/>
                  <a:pt x="1308" y="1511"/>
                  <a:pt x="1408" y="1411"/>
                </a:cubicBezTo>
                <a:cubicBezTo>
                  <a:pt x="1367" y="1389"/>
                  <a:pt x="1321" y="1369"/>
                  <a:pt x="1274" y="1352"/>
                </a:cubicBezTo>
                <a:close/>
                <a:moveTo>
                  <a:pt x="463" y="1443"/>
                </a:moveTo>
                <a:cubicBezTo>
                  <a:pt x="450" y="1421"/>
                  <a:pt x="438" y="1398"/>
                  <a:pt x="427" y="1374"/>
                </a:cubicBezTo>
                <a:cubicBezTo>
                  <a:pt x="427" y="1374"/>
                  <a:pt x="426" y="1374"/>
                  <a:pt x="426" y="1374"/>
                </a:cubicBezTo>
                <a:cubicBezTo>
                  <a:pt x="407" y="1374"/>
                  <a:pt x="390" y="1365"/>
                  <a:pt x="378" y="1352"/>
                </a:cubicBezTo>
                <a:cubicBezTo>
                  <a:pt x="331" y="1369"/>
                  <a:pt x="285" y="1389"/>
                  <a:pt x="244" y="1411"/>
                </a:cubicBezTo>
                <a:cubicBezTo>
                  <a:pt x="344" y="1511"/>
                  <a:pt x="470" y="1585"/>
                  <a:pt x="610" y="1623"/>
                </a:cubicBezTo>
                <a:cubicBezTo>
                  <a:pt x="556" y="1579"/>
                  <a:pt x="506" y="1519"/>
                  <a:pt x="463" y="1443"/>
                </a:cubicBezTo>
                <a:close/>
                <a:moveTo>
                  <a:pt x="770" y="1280"/>
                </a:moveTo>
                <a:cubicBezTo>
                  <a:pt x="671" y="1284"/>
                  <a:pt x="575" y="1297"/>
                  <a:pt x="486" y="1319"/>
                </a:cubicBezTo>
                <a:cubicBezTo>
                  <a:pt x="485" y="1334"/>
                  <a:pt x="478" y="1347"/>
                  <a:pt x="468" y="1357"/>
                </a:cubicBezTo>
                <a:cubicBezTo>
                  <a:pt x="478" y="1379"/>
                  <a:pt x="489" y="1401"/>
                  <a:pt x="501" y="1421"/>
                </a:cubicBezTo>
                <a:cubicBezTo>
                  <a:pt x="569" y="1540"/>
                  <a:pt x="652" y="1618"/>
                  <a:pt x="743" y="1648"/>
                </a:cubicBezTo>
                <a:cubicBezTo>
                  <a:pt x="763" y="1650"/>
                  <a:pt x="783" y="1651"/>
                  <a:pt x="804" y="1652"/>
                </a:cubicBezTo>
                <a:cubicBezTo>
                  <a:pt x="804" y="1314"/>
                  <a:pt x="804" y="1314"/>
                  <a:pt x="804" y="1314"/>
                </a:cubicBezTo>
                <a:cubicBezTo>
                  <a:pt x="788" y="1308"/>
                  <a:pt x="776" y="1296"/>
                  <a:pt x="770" y="1280"/>
                </a:cubicBezTo>
                <a:close/>
                <a:moveTo>
                  <a:pt x="1370" y="848"/>
                </a:moveTo>
                <a:cubicBezTo>
                  <a:pt x="1363" y="864"/>
                  <a:pt x="1350" y="877"/>
                  <a:pt x="1334" y="883"/>
                </a:cubicBezTo>
                <a:cubicBezTo>
                  <a:pt x="1329" y="1020"/>
                  <a:pt x="1306" y="1151"/>
                  <a:pt x="1267" y="1267"/>
                </a:cubicBezTo>
                <a:cubicBezTo>
                  <a:pt x="1279" y="1278"/>
                  <a:pt x="1286" y="1293"/>
                  <a:pt x="1287" y="1310"/>
                </a:cubicBezTo>
                <a:cubicBezTo>
                  <a:pt x="1342" y="1329"/>
                  <a:pt x="1393" y="1352"/>
                  <a:pt x="1440" y="1378"/>
                </a:cubicBezTo>
                <a:cubicBezTo>
                  <a:pt x="1567" y="1237"/>
                  <a:pt x="1646" y="1052"/>
                  <a:pt x="1652" y="848"/>
                </a:cubicBezTo>
                <a:lnTo>
                  <a:pt x="1370" y="848"/>
                </a:lnTo>
                <a:close/>
                <a:moveTo>
                  <a:pt x="804" y="0"/>
                </a:moveTo>
                <a:cubicBezTo>
                  <a:pt x="783" y="1"/>
                  <a:pt x="763" y="2"/>
                  <a:pt x="743" y="4"/>
                </a:cubicBezTo>
                <a:cubicBezTo>
                  <a:pt x="652" y="34"/>
                  <a:pt x="569" y="112"/>
                  <a:pt x="501" y="231"/>
                </a:cubicBezTo>
                <a:cubicBezTo>
                  <a:pt x="489" y="251"/>
                  <a:pt x="478" y="273"/>
                  <a:pt x="468" y="295"/>
                </a:cubicBezTo>
                <a:cubicBezTo>
                  <a:pt x="478" y="305"/>
                  <a:pt x="485" y="318"/>
                  <a:pt x="486" y="333"/>
                </a:cubicBezTo>
                <a:cubicBezTo>
                  <a:pt x="575" y="355"/>
                  <a:pt x="671" y="368"/>
                  <a:pt x="770" y="372"/>
                </a:cubicBezTo>
                <a:cubicBezTo>
                  <a:pt x="776" y="356"/>
                  <a:pt x="788" y="344"/>
                  <a:pt x="804" y="338"/>
                </a:cubicBezTo>
                <a:lnTo>
                  <a:pt x="804" y="0"/>
                </a:lnTo>
                <a:close/>
                <a:moveTo>
                  <a:pt x="378" y="300"/>
                </a:moveTo>
                <a:cubicBezTo>
                  <a:pt x="390" y="287"/>
                  <a:pt x="407" y="278"/>
                  <a:pt x="426" y="278"/>
                </a:cubicBezTo>
                <a:cubicBezTo>
                  <a:pt x="426" y="278"/>
                  <a:pt x="427" y="278"/>
                  <a:pt x="427" y="278"/>
                </a:cubicBezTo>
                <a:cubicBezTo>
                  <a:pt x="438" y="254"/>
                  <a:pt x="450" y="231"/>
                  <a:pt x="463" y="209"/>
                </a:cubicBezTo>
                <a:cubicBezTo>
                  <a:pt x="506" y="133"/>
                  <a:pt x="556" y="73"/>
                  <a:pt x="610" y="29"/>
                </a:cubicBezTo>
                <a:cubicBezTo>
                  <a:pt x="470" y="67"/>
                  <a:pt x="344" y="141"/>
                  <a:pt x="244" y="241"/>
                </a:cubicBezTo>
                <a:cubicBezTo>
                  <a:pt x="285" y="263"/>
                  <a:pt x="331" y="283"/>
                  <a:pt x="378" y="300"/>
                </a:cubicBezTo>
                <a:close/>
                <a:moveTo>
                  <a:pt x="282" y="804"/>
                </a:moveTo>
                <a:cubicBezTo>
                  <a:pt x="289" y="788"/>
                  <a:pt x="302" y="775"/>
                  <a:pt x="318" y="769"/>
                </a:cubicBezTo>
                <a:cubicBezTo>
                  <a:pt x="323" y="632"/>
                  <a:pt x="346" y="501"/>
                  <a:pt x="385" y="385"/>
                </a:cubicBezTo>
                <a:cubicBezTo>
                  <a:pt x="373" y="374"/>
                  <a:pt x="366" y="359"/>
                  <a:pt x="365" y="342"/>
                </a:cubicBezTo>
                <a:cubicBezTo>
                  <a:pt x="310" y="323"/>
                  <a:pt x="259" y="300"/>
                  <a:pt x="212" y="274"/>
                </a:cubicBezTo>
                <a:cubicBezTo>
                  <a:pt x="85" y="415"/>
                  <a:pt x="6" y="600"/>
                  <a:pt x="0" y="804"/>
                </a:cubicBezTo>
                <a:lnTo>
                  <a:pt x="282" y="804"/>
                </a:lnTo>
                <a:close/>
                <a:moveTo>
                  <a:pt x="385" y="1267"/>
                </a:moveTo>
                <a:cubicBezTo>
                  <a:pt x="346" y="1151"/>
                  <a:pt x="323" y="1020"/>
                  <a:pt x="318" y="883"/>
                </a:cubicBezTo>
                <a:cubicBezTo>
                  <a:pt x="302" y="877"/>
                  <a:pt x="289" y="864"/>
                  <a:pt x="282" y="848"/>
                </a:cubicBezTo>
                <a:cubicBezTo>
                  <a:pt x="0" y="848"/>
                  <a:pt x="0" y="848"/>
                  <a:pt x="0" y="848"/>
                </a:cubicBezTo>
                <a:cubicBezTo>
                  <a:pt x="6" y="1052"/>
                  <a:pt x="85" y="1237"/>
                  <a:pt x="212" y="1378"/>
                </a:cubicBezTo>
                <a:cubicBezTo>
                  <a:pt x="259" y="1352"/>
                  <a:pt x="310" y="1329"/>
                  <a:pt x="365" y="1310"/>
                </a:cubicBezTo>
                <a:cubicBezTo>
                  <a:pt x="366" y="1293"/>
                  <a:pt x="373" y="1278"/>
                  <a:pt x="385" y="12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  <a:latin typeface="Formular" charset="0"/>
              <a:ea typeface="Formular" charset="0"/>
              <a:cs typeface="Formular" charset="0"/>
            </a:endParaRPr>
          </a:p>
        </p:txBody>
      </p:sp>
      <p:sp>
        <p:nvSpPr>
          <p:cNvPr id="20" name="Title 11">
            <a:extLst>
              <a:ext uri="{FF2B5EF4-FFF2-40B4-BE49-F238E27FC236}">
                <a16:creationId xmlns:a16="http://schemas.microsoft.com/office/drawing/2014/main" id="{F9AFEE9D-F72D-E148-8420-9BDCC1934E3F}"/>
              </a:ext>
            </a:extLst>
          </p:cNvPr>
          <p:cNvSpPr txBox="1">
            <a:spLocks/>
          </p:cNvSpPr>
          <p:nvPr userDrawn="1"/>
        </p:nvSpPr>
        <p:spPr>
          <a:xfrm>
            <a:off x="1767932" y="3382692"/>
            <a:ext cx="4483781" cy="1173853"/>
          </a:xfrm>
          <a:prstGeom prst="rect">
            <a:avLst/>
          </a:prstGeom>
        </p:spPr>
        <p:txBody>
          <a:bodyPr/>
          <a:lstStyle>
            <a:lvl1pPr algn="l" defTabSz="74272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icons are one color</a:t>
            </a:r>
          </a:p>
          <a:p>
            <a:r>
              <a:rPr lang="en-US" dirty="0">
                <a:solidFill>
                  <a:srgbClr val="000000"/>
                </a:solidFill>
              </a:rPr>
              <a:t>no bounding box</a:t>
            </a:r>
          </a:p>
        </p:txBody>
      </p:sp>
      <p:sp>
        <p:nvSpPr>
          <p:cNvPr id="22" name="Title 11">
            <a:extLst>
              <a:ext uri="{FF2B5EF4-FFF2-40B4-BE49-F238E27FC236}">
                <a16:creationId xmlns:a16="http://schemas.microsoft.com/office/drawing/2014/main" id="{26097870-DF19-EC49-B311-B8B1626D5509}"/>
              </a:ext>
            </a:extLst>
          </p:cNvPr>
          <p:cNvSpPr txBox="1">
            <a:spLocks/>
          </p:cNvSpPr>
          <p:nvPr userDrawn="1"/>
        </p:nvSpPr>
        <p:spPr>
          <a:xfrm>
            <a:off x="6840201" y="3010772"/>
            <a:ext cx="4483781" cy="117385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algn="l" defTabSz="74272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Formular" charset="0"/>
                <a:ea typeface="Formular" charset="0"/>
                <a:cs typeface="Formular" charset="0"/>
                <a:sym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000000"/>
                </a:solidFill>
              </a:rPr>
              <a:t>Special cases</a:t>
            </a:r>
          </a:p>
          <a:p>
            <a:r>
              <a:rPr lang="en-US" dirty="0">
                <a:solidFill>
                  <a:srgbClr val="000000"/>
                </a:solidFill>
              </a:rPr>
              <a:t>Text on gray field</a:t>
            </a:r>
          </a:p>
        </p:txBody>
      </p:sp>
    </p:spTree>
    <p:extLst>
      <p:ext uri="{BB962C8B-B14F-4D97-AF65-F5344CB8AC3E}">
        <p14:creationId xmlns:p14="http://schemas.microsoft.com/office/powerpoint/2010/main" val="414328830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resentation title blac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val 14"/>
          <p:cNvSpPr/>
          <p:nvPr userDrawn="1"/>
        </p:nvSpPr>
        <p:spPr>
          <a:xfrm>
            <a:off x="-241739" y="1718442"/>
            <a:ext cx="491358" cy="491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609600" y="1600200"/>
            <a:ext cx="7010400" cy="3352800"/>
          </a:xfrm>
        </p:spPr>
        <p:txBody>
          <a:bodyPr>
            <a:normAutofit/>
          </a:bodyPr>
          <a:lstStyle>
            <a:lvl1pPr>
              <a:defRPr sz="4800" cap="all" spc="20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0872" y="6141573"/>
            <a:ext cx="2289401" cy="51563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81000"/>
            <a:ext cx="2743200" cy="30480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7600" y="381000"/>
            <a:ext cx="3962400" cy="304800"/>
          </a:xfrm>
        </p:spPr>
        <p:txBody>
          <a:bodyPr>
            <a:normAutofit/>
          </a:bodyPr>
          <a:lstStyle>
            <a:lvl1pPr>
              <a:defRPr sz="1800" b="1"/>
            </a:lvl1pPr>
          </a:lstStyle>
          <a:p>
            <a:pPr lvl="0"/>
            <a:r>
              <a:rPr lang="en-US" dirty="0"/>
              <a:t>Presenter Nam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3657600" y="685800"/>
            <a:ext cx="3962400" cy="304800"/>
          </a:xfrm>
        </p:spPr>
        <p:txBody>
          <a:bodyPr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en-US" dirty="0"/>
              <a:t>Presenter Title</a:t>
            </a:r>
          </a:p>
        </p:txBody>
      </p:sp>
    </p:spTree>
    <p:extLst>
      <p:ext uri="{BB962C8B-B14F-4D97-AF65-F5344CB8AC3E}">
        <p14:creationId xmlns:p14="http://schemas.microsoft.com/office/powerpoint/2010/main" val="3024240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call out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381001"/>
            <a:ext cx="8229601" cy="9239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905000"/>
            <a:ext cx="8229600" cy="3962400"/>
          </a:xfrm>
        </p:spPr>
        <p:txBody>
          <a:bodyPr>
            <a:normAutofit/>
          </a:bodyPr>
          <a:lstStyle>
            <a:lvl1pPr>
              <a:defRPr sz="5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esentation Title | Date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7703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text wide +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609600" y="1905000"/>
            <a:ext cx="10969246" cy="3657600"/>
          </a:xfrm>
        </p:spPr>
        <p:txBody>
          <a:bodyPr bIns="18288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esentation Title | Date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09600" y="5562600"/>
            <a:ext cx="10969625" cy="609600"/>
          </a:xfrm>
          <a:solidFill>
            <a:schemeClr val="accent6"/>
          </a:solidFill>
        </p:spPr>
        <p:txBody>
          <a:bodyPr lIns="182880" tIns="182880" rIns="182880" bIns="182880" anchor="ctr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36048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9600" y="1905000"/>
            <a:ext cx="5181600" cy="3962400"/>
          </a:xfrm>
          <a:solidFill>
            <a:schemeClr val="accent4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397247" y="1905000"/>
            <a:ext cx="5181600" cy="3962400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09600" y="5282625"/>
            <a:ext cx="5181600" cy="584775"/>
          </a:xfrm>
        </p:spPr>
        <p:txBody>
          <a:bodyPr lIns="182880" tIns="182880" rIns="182880" bIns="182880" anchor="b">
            <a:noAutofit/>
          </a:bodyPr>
          <a:lstStyle>
            <a:lvl1pPr>
              <a:defRPr sz="1600" b="0">
                <a:solidFill>
                  <a:schemeClr val="bg1"/>
                </a:solidFill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lvl="0"/>
            <a:r>
              <a:rPr lang="en-US" dirty="0"/>
              <a:t>Image caption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Presentation Title | Date | Aptiv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6D1532F-61F1-B941-ACDF-6BC65E0B405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66085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107696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9245600" y="6457950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5C1A86-130B-4077-9F01-DAA963641D3E}" type="slidenum">
              <a:rPr lang="en-US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920962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 with Blu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2791" y="-114300"/>
            <a:ext cx="11584411" cy="1109663"/>
          </a:xfrm>
          <a:prstGeom prst="rect">
            <a:avLst/>
          </a:prstGeom>
        </p:spPr>
        <p:txBody>
          <a:bodyPr/>
          <a:lstStyle>
            <a:lvl1pPr>
              <a:defRPr sz="26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9463" y="5661302"/>
            <a:ext cx="11276247" cy="647550"/>
          </a:xfrm>
          <a:solidFill>
            <a:schemeClr val="tx2"/>
          </a:solidFill>
          <a:ln>
            <a:noFill/>
          </a:ln>
          <a:effectLst/>
        </p:spPr>
        <p:txBody>
          <a:bodyPr lIns="108000" tIns="36000" rIns="108000" bIns="72000" anchor="ctr"/>
          <a:lstStyle>
            <a:lvl1pPr marL="0" indent="0" algn="ctr">
              <a:buNone/>
              <a:defRPr sz="1800" b="1">
                <a:solidFill>
                  <a:srgbClr val="FFFFFF"/>
                </a:solidFill>
              </a:defRPr>
            </a:lvl1pPr>
            <a:lvl2pPr>
              <a:defRPr b="1">
                <a:solidFill>
                  <a:srgbClr val="FFFFFF"/>
                </a:solidFill>
              </a:defRPr>
            </a:lvl2pPr>
            <a:lvl3pPr>
              <a:defRPr b="1">
                <a:solidFill>
                  <a:srgbClr val="FFFFFF"/>
                </a:solidFill>
              </a:defRPr>
            </a:lvl3pPr>
            <a:lvl4pPr>
              <a:defRPr b="1">
                <a:solidFill>
                  <a:srgbClr val="FFFFFF"/>
                </a:solidFill>
              </a:defRPr>
            </a:lvl4pPr>
            <a:lvl5pPr>
              <a:defRPr b="1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302794" y="6474165"/>
            <a:ext cx="538575" cy="365125"/>
          </a:xfrm>
          <a:prstGeom prst="rect">
            <a:avLst/>
          </a:prstGeom>
        </p:spPr>
        <p:txBody>
          <a:bodyPr/>
          <a:lstStyle/>
          <a:p>
            <a:pPr defTabSz="455221"/>
            <a:fld id="{A43139FB-0DEB-4527-9CBA-1C326F5D9B41}" type="slidenum">
              <a:rPr lang="en-US" smtClean="0">
                <a:solidFill>
                  <a:srgbClr val="000000"/>
                </a:solidFill>
              </a:rPr>
              <a:pPr defTabSz="45522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64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image" Target="../media/image9.png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image" Target="../media/image9.png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5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921934" y="13815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8132" name="Rectangle 4"/>
          <p:cNvSpPr>
            <a:spLocks noChangeArrowheads="1"/>
          </p:cNvSpPr>
          <p:nvPr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>
              <a:spcBef>
                <a:spcPct val="20000"/>
              </a:spcBef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2400">
              <a:latin typeface="Tahoma"/>
              <a:ea typeface="+mn-ea"/>
              <a:cs typeface="Tahoma"/>
            </a:endParaRP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88951" y="246063"/>
            <a:ext cx="11216216" cy="80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8951" y="1379540"/>
            <a:ext cx="11216216" cy="510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813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333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fld id="{13B9B73C-3867-304D-ABA3-D6FEE1C251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88138" name="Text Box 10"/>
          <p:cNvSpPr txBox="1">
            <a:spLocks noChangeArrowheads="1"/>
          </p:cNvSpPr>
          <p:nvPr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>
              <a:spcBef>
                <a:spcPts val="0"/>
              </a:spcBef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dirty="0" err="1">
                <a:solidFill>
                  <a:schemeClr val="bg1"/>
                </a:solidFill>
                <a:latin typeface="Tahoma"/>
                <a:ea typeface="+mn-ea"/>
                <a:cs typeface="Tahoma"/>
              </a:rPr>
              <a:t>www.leanuk.org</a:t>
            </a:r>
            <a:endParaRPr lang="en-GB" sz="1600" dirty="0">
              <a:solidFill>
                <a:schemeClr val="bg1"/>
              </a:solidFill>
              <a:latin typeface="Tahoma"/>
              <a:ea typeface="+mn-ea"/>
              <a:cs typeface="Tahom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781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 spd="med">
    <p:zoom/>
  </p:transition>
  <p:hf hdr="0" ftr="0" dt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/>
          <a:ea typeface="ＭＳ Ｐゴシック" charset="-128"/>
          <a:cs typeface="Tahoma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5pPr>
      <a:lvl6pPr marL="519488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6pPr>
      <a:lvl7pPr marL="1038977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7pPr>
      <a:lvl8pPr marL="1558465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8pPr>
      <a:lvl9pPr marL="2077952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9pPr>
    </p:titleStyle>
    <p:bodyStyle>
      <a:lvl1pPr marL="389616" indent="-389616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3200">
          <a:solidFill>
            <a:srgbClr val="000000"/>
          </a:solidFill>
          <a:latin typeface="Tahoma"/>
          <a:ea typeface="ＭＳ Ｐゴシック" charset="-128"/>
          <a:cs typeface="Tahoma"/>
        </a:defRPr>
      </a:lvl1pPr>
      <a:lvl2pPr marL="844168" indent="-324680" algn="l" rtl="0" eaLnBrk="0" fontAlgn="base" hangingPunct="0">
        <a:spcBef>
          <a:spcPct val="0"/>
        </a:spcBef>
        <a:spcAft>
          <a:spcPts val="681"/>
        </a:spcAft>
        <a:buClr>
          <a:srgbClr val="000000"/>
        </a:buClr>
        <a:buSzPct val="75000"/>
        <a:buFont typeface="Wingdings" pitchFamily="8" charset="2"/>
        <a:buChar char="n"/>
        <a:defRPr sz="2667">
          <a:solidFill>
            <a:srgbClr val="000000"/>
          </a:solidFill>
          <a:latin typeface="Tahoma"/>
          <a:ea typeface="ＭＳ Ｐゴシック" charset="-128"/>
          <a:cs typeface="Tahoma"/>
        </a:defRPr>
      </a:lvl2pPr>
      <a:lvl3pPr marL="1399732" indent="-339110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267">
          <a:solidFill>
            <a:srgbClr val="000000"/>
          </a:solidFill>
          <a:latin typeface="Tahoma"/>
          <a:ea typeface="ＭＳ Ｐゴシック" charset="-128"/>
          <a:cs typeface="Tahoma"/>
        </a:defRPr>
      </a:lvl3pPr>
      <a:lvl4pPr marL="1883145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000">
          <a:solidFill>
            <a:srgbClr val="000000"/>
          </a:solidFill>
          <a:latin typeface="Tahoma"/>
          <a:ea typeface="ＭＳ Ｐゴシック" charset="-128"/>
          <a:cs typeface="Tahoma"/>
        </a:defRPr>
      </a:lvl4pPr>
      <a:lvl5pPr marL="2359342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1867">
          <a:solidFill>
            <a:srgbClr val="000000"/>
          </a:solidFill>
          <a:latin typeface="Tahoma"/>
          <a:ea typeface="ＭＳ Ｐゴシック" charset="-128"/>
          <a:cs typeface="Tahoma"/>
        </a:defRPr>
      </a:lvl5pPr>
      <a:lvl6pPr marL="2878831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6pPr>
      <a:lvl7pPr marL="3398318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7pPr>
      <a:lvl8pPr marL="3917806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8pPr>
      <a:lvl9pPr marL="4437294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921934" y="13815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8132" name="Rectangle 4"/>
          <p:cNvSpPr>
            <a:spLocks noChangeArrowheads="1"/>
          </p:cNvSpPr>
          <p:nvPr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3600" b="1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88951" y="246063"/>
            <a:ext cx="11216216" cy="80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8951" y="1379540"/>
            <a:ext cx="11216216" cy="510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813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3B9B73C-3867-304D-ABA3-D6FEE1C2514C}" type="slidenum">
              <a:rPr lang="en-US" b="1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88138" name="Text Box 10"/>
          <p:cNvSpPr txBox="1">
            <a:spLocks noChangeArrowheads="1"/>
          </p:cNvSpPr>
          <p:nvPr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 err="1">
                <a:solidFill>
                  <a:srgbClr val="FFFFFF"/>
                </a:solidFill>
                <a:latin typeface="Tahoma"/>
                <a:cs typeface="Tahoma"/>
              </a:rPr>
              <a:t>www.leanuk.org</a:t>
            </a:r>
            <a:endParaRPr lang="en-GB" sz="1600" b="1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65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700" r:id="rId14"/>
    <p:sldLayoutId id="2147483705" r:id="rId15"/>
    <p:sldLayoutId id="2147483706" r:id="rId16"/>
    <p:sldLayoutId id="2147483707" r:id="rId17"/>
  </p:sldLayoutIdLst>
  <p:transition spd="med">
    <p:zoom/>
  </p:transition>
  <p:hf hdr="0" ftr="0" dt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/>
          <a:ea typeface="ＭＳ Ｐゴシック" charset="-128"/>
          <a:cs typeface="Tahoma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5pPr>
      <a:lvl6pPr marL="519488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6pPr>
      <a:lvl7pPr marL="1038977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7pPr>
      <a:lvl8pPr marL="1558465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8pPr>
      <a:lvl9pPr marL="2077952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9pPr>
    </p:titleStyle>
    <p:bodyStyle>
      <a:lvl1pPr marL="389616" indent="-389616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3200">
          <a:solidFill>
            <a:srgbClr val="000000"/>
          </a:solidFill>
          <a:latin typeface="Tahoma"/>
          <a:ea typeface="ＭＳ Ｐゴシック" charset="-128"/>
          <a:cs typeface="Tahoma"/>
        </a:defRPr>
      </a:lvl1pPr>
      <a:lvl2pPr marL="844168" indent="-324680" algn="l" rtl="0" eaLnBrk="0" fontAlgn="base" hangingPunct="0">
        <a:spcBef>
          <a:spcPct val="0"/>
        </a:spcBef>
        <a:spcAft>
          <a:spcPts val="681"/>
        </a:spcAft>
        <a:buClr>
          <a:srgbClr val="000000"/>
        </a:buClr>
        <a:buSzPct val="75000"/>
        <a:buFont typeface="Wingdings" pitchFamily="8" charset="2"/>
        <a:buChar char="n"/>
        <a:defRPr sz="2667">
          <a:solidFill>
            <a:srgbClr val="000000"/>
          </a:solidFill>
          <a:latin typeface="Tahoma"/>
          <a:ea typeface="ＭＳ Ｐゴシック" charset="-128"/>
          <a:cs typeface="Tahoma"/>
        </a:defRPr>
      </a:lvl2pPr>
      <a:lvl3pPr marL="1399732" indent="-339110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267">
          <a:solidFill>
            <a:srgbClr val="000000"/>
          </a:solidFill>
          <a:latin typeface="Tahoma"/>
          <a:ea typeface="ＭＳ Ｐゴシック" charset="-128"/>
          <a:cs typeface="Tahoma"/>
        </a:defRPr>
      </a:lvl3pPr>
      <a:lvl4pPr marL="1883145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000">
          <a:solidFill>
            <a:srgbClr val="000000"/>
          </a:solidFill>
          <a:latin typeface="Tahoma"/>
          <a:ea typeface="ＭＳ Ｐゴシック" charset="-128"/>
          <a:cs typeface="Tahoma"/>
        </a:defRPr>
      </a:lvl4pPr>
      <a:lvl5pPr marL="2359342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1867">
          <a:solidFill>
            <a:srgbClr val="000000"/>
          </a:solidFill>
          <a:latin typeface="Tahoma"/>
          <a:ea typeface="ＭＳ Ｐゴシック" charset="-128"/>
          <a:cs typeface="Tahoma"/>
        </a:defRPr>
      </a:lvl5pPr>
      <a:lvl6pPr marL="2878831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6pPr>
      <a:lvl7pPr marL="3398318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7pPr>
      <a:lvl8pPr marL="3917806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8pPr>
      <a:lvl9pPr marL="4437294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921934" y="13815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8132" name="Rectangle 4"/>
          <p:cNvSpPr>
            <a:spLocks noChangeArrowheads="1"/>
          </p:cNvSpPr>
          <p:nvPr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3600" b="1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88951" y="246063"/>
            <a:ext cx="11216216" cy="80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8951" y="1379540"/>
            <a:ext cx="11216216" cy="510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813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3B9B73C-3867-304D-ABA3-D6FEE1C2514C}" type="slidenum">
              <a:rPr lang="en-US" b="1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88138" name="Text Box 10"/>
          <p:cNvSpPr txBox="1">
            <a:spLocks noChangeArrowheads="1"/>
          </p:cNvSpPr>
          <p:nvPr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 err="1">
                <a:solidFill>
                  <a:srgbClr val="FFFFFF"/>
                </a:solidFill>
                <a:latin typeface="Tahoma"/>
                <a:cs typeface="Tahoma"/>
              </a:rPr>
              <a:t>www.leanuk.org</a:t>
            </a:r>
            <a:endParaRPr lang="en-GB" sz="1600" b="1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392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  <p:sldLayoutId id="2147483721" r:id="rId13"/>
    <p:sldLayoutId id="2147483723" r:id="rId14"/>
    <p:sldLayoutId id="2147483728" r:id="rId15"/>
    <p:sldLayoutId id="2147483729" r:id="rId16"/>
    <p:sldLayoutId id="2147483730" r:id="rId17"/>
  </p:sldLayoutIdLst>
  <p:transition spd="med">
    <p:zoom/>
  </p:transition>
  <p:hf hdr="0" ftr="0" dt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/>
          <a:ea typeface="ＭＳ Ｐゴシック" charset="-128"/>
          <a:cs typeface="Tahoma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5pPr>
      <a:lvl6pPr marL="519488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6pPr>
      <a:lvl7pPr marL="1038977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7pPr>
      <a:lvl8pPr marL="1558465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8pPr>
      <a:lvl9pPr marL="2077952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9pPr>
    </p:titleStyle>
    <p:bodyStyle>
      <a:lvl1pPr marL="389616" indent="-389616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3200">
          <a:solidFill>
            <a:srgbClr val="000000"/>
          </a:solidFill>
          <a:latin typeface="Tahoma"/>
          <a:ea typeface="ＭＳ Ｐゴシック" charset="-128"/>
          <a:cs typeface="Tahoma"/>
        </a:defRPr>
      </a:lvl1pPr>
      <a:lvl2pPr marL="844168" indent="-324680" algn="l" rtl="0" eaLnBrk="0" fontAlgn="base" hangingPunct="0">
        <a:spcBef>
          <a:spcPct val="0"/>
        </a:spcBef>
        <a:spcAft>
          <a:spcPts val="681"/>
        </a:spcAft>
        <a:buClr>
          <a:srgbClr val="000000"/>
        </a:buClr>
        <a:buSzPct val="75000"/>
        <a:buFont typeface="Wingdings" pitchFamily="8" charset="2"/>
        <a:buChar char="n"/>
        <a:defRPr sz="2667">
          <a:solidFill>
            <a:srgbClr val="000000"/>
          </a:solidFill>
          <a:latin typeface="Tahoma"/>
          <a:ea typeface="ＭＳ Ｐゴシック" charset="-128"/>
          <a:cs typeface="Tahoma"/>
        </a:defRPr>
      </a:lvl2pPr>
      <a:lvl3pPr marL="1399732" indent="-339110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267">
          <a:solidFill>
            <a:srgbClr val="000000"/>
          </a:solidFill>
          <a:latin typeface="Tahoma"/>
          <a:ea typeface="ＭＳ Ｐゴシック" charset="-128"/>
          <a:cs typeface="Tahoma"/>
        </a:defRPr>
      </a:lvl3pPr>
      <a:lvl4pPr marL="1883145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000">
          <a:solidFill>
            <a:srgbClr val="000000"/>
          </a:solidFill>
          <a:latin typeface="Tahoma"/>
          <a:ea typeface="ＭＳ Ｐゴシック" charset="-128"/>
          <a:cs typeface="Tahoma"/>
        </a:defRPr>
      </a:lvl4pPr>
      <a:lvl5pPr marL="2359342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1867">
          <a:solidFill>
            <a:srgbClr val="000000"/>
          </a:solidFill>
          <a:latin typeface="Tahoma"/>
          <a:ea typeface="ＭＳ Ｐゴシック" charset="-128"/>
          <a:cs typeface="Tahoma"/>
        </a:defRPr>
      </a:lvl5pPr>
      <a:lvl6pPr marL="2878831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6pPr>
      <a:lvl7pPr marL="3398318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7pPr>
      <a:lvl8pPr marL="3917806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8pPr>
      <a:lvl9pPr marL="4437294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1921934" y="1381538"/>
            <a:ext cx="8180917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8132" name="Rectangle 4"/>
          <p:cNvSpPr>
            <a:spLocks noChangeArrowheads="1"/>
          </p:cNvSpPr>
          <p:nvPr/>
        </p:nvSpPr>
        <p:spPr bwMode="auto">
          <a:xfrm>
            <a:off x="0" y="6513515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3600" b="1">
              <a:solidFill>
                <a:srgbClr val="970000"/>
              </a:solidFill>
              <a:latin typeface="Tahoma"/>
              <a:cs typeface="Tahoma"/>
            </a:endParaRP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88951" y="246063"/>
            <a:ext cx="11216216" cy="80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8951" y="1379540"/>
            <a:ext cx="11216216" cy="510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88136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itchFamily="8" charset="0"/>
                <a:ea typeface="Tahoma" pitchFamily="8" charset="0"/>
                <a:cs typeface="Tahoma" pitchFamily="8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3B9B73C-3867-304D-ABA3-D6FEE1C2514C}" type="slidenum">
              <a:rPr lang="en-US" b="1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688138" name="Text Box 10"/>
          <p:cNvSpPr txBox="1">
            <a:spLocks noChangeArrowheads="1"/>
          </p:cNvSpPr>
          <p:nvPr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 err="1">
                <a:solidFill>
                  <a:srgbClr val="FFFFFF"/>
                </a:solidFill>
                <a:latin typeface="Tahoma"/>
                <a:cs typeface="Tahoma"/>
              </a:rPr>
              <a:t>www.leanuk.org</a:t>
            </a:r>
            <a:endParaRPr lang="en-GB" sz="1600" b="1" dirty="0">
              <a:solidFill>
                <a:srgbClr val="FFFFFF"/>
              </a:solidFill>
              <a:latin typeface="Tahoma"/>
              <a:cs typeface="Tahoma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1" y="6239347"/>
            <a:ext cx="1185940" cy="618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766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6" r:id="rId14"/>
    <p:sldLayoutId id="2147483751" r:id="rId15"/>
    <p:sldLayoutId id="2147483752" r:id="rId16"/>
    <p:sldLayoutId id="2147483753" r:id="rId17"/>
  </p:sldLayoutIdLst>
  <p:transition spd="med">
    <p:zoom/>
  </p:transition>
  <p:hf hdr="0" ftr="0" dt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/>
          <a:ea typeface="ＭＳ Ｐゴシック" charset="-128"/>
          <a:cs typeface="Tahoma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133" b="1">
          <a:solidFill>
            <a:srgbClr val="990100"/>
          </a:solidFill>
          <a:latin typeface="Tahoma" pitchFamily="8" charset="0"/>
          <a:ea typeface="ＭＳ Ｐゴシック" charset="-128"/>
          <a:cs typeface="ＭＳ Ｐゴシック" charset="-128"/>
        </a:defRPr>
      </a:lvl5pPr>
      <a:lvl6pPr marL="519488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6pPr>
      <a:lvl7pPr marL="1038977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7pPr>
      <a:lvl8pPr marL="1558465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8pPr>
      <a:lvl9pPr marL="2077952" algn="ctr" rtl="0" fontAlgn="base">
        <a:lnSpc>
          <a:spcPct val="80000"/>
        </a:lnSpc>
        <a:spcBef>
          <a:spcPct val="0"/>
        </a:spcBef>
        <a:spcAft>
          <a:spcPct val="0"/>
        </a:spcAft>
        <a:defRPr sz="4533" b="1">
          <a:solidFill>
            <a:schemeClr val="tx1"/>
          </a:solidFill>
          <a:latin typeface="Verdana" pitchFamily="34" charset="0"/>
        </a:defRPr>
      </a:lvl9pPr>
    </p:titleStyle>
    <p:bodyStyle>
      <a:lvl1pPr marL="389616" indent="-389616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3200">
          <a:solidFill>
            <a:srgbClr val="000000"/>
          </a:solidFill>
          <a:latin typeface="Tahoma"/>
          <a:ea typeface="ＭＳ Ｐゴシック" charset="-128"/>
          <a:cs typeface="Tahoma"/>
        </a:defRPr>
      </a:lvl1pPr>
      <a:lvl2pPr marL="844168" indent="-324680" algn="l" rtl="0" eaLnBrk="0" fontAlgn="base" hangingPunct="0">
        <a:spcBef>
          <a:spcPct val="0"/>
        </a:spcBef>
        <a:spcAft>
          <a:spcPts val="681"/>
        </a:spcAft>
        <a:buClr>
          <a:srgbClr val="000000"/>
        </a:buClr>
        <a:buSzPct val="75000"/>
        <a:buFont typeface="Wingdings" pitchFamily="8" charset="2"/>
        <a:buChar char="n"/>
        <a:defRPr sz="2667">
          <a:solidFill>
            <a:srgbClr val="000000"/>
          </a:solidFill>
          <a:latin typeface="Tahoma"/>
          <a:ea typeface="ＭＳ Ｐゴシック" charset="-128"/>
          <a:cs typeface="Tahoma"/>
        </a:defRPr>
      </a:lvl2pPr>
      <a:lvl3pPr marL="1399732" indent="-339110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267">
          <a:solidFill>
            <a:srgbClr val="000000"/>
          </a:solidFill>
          <a:latin typeface="Tahoma"/>
          <a:ea typeface="ＭＳ Ｐゴシック" charset="-128"/>
          <a:cs typeface="Tahoma"/>
        </a:defRPr>
      </a:lvl3pPr>
      <a:lvl4pPr marL="1883145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2000">
          <a:solidFill>
            <a:srgbClr val="000000"/>
          </a:solidFill>
          <a:latin typeface="Tahoma"/>
          <a:ea typeface="ＭＳ Ｐゴシック" charset="-128"/>
          <a:cs typeface="Tahoma"/>
        </a:defRPr>
      </a:lvl4pPr>
      <a:lvl5pPr marL="2359342" indent="-259744" algn="l" rtl="0" eaLnBrk="0" fontAlgn="base" hangingPunct="0">
        <a:spcBef>
          <a:spcPct val="0"/>
        </a:spcBef>
        <a:spcAft>
          <a:spcPts val="681"/>
        </a:spcAft>
        <a:buClr>
          <a:srgbClr val="800000"/>
        </a:buClr>
        <a:buSzPct val="75000"/>
        <a:buFont typeface="Wingdings" pitchFamily="8" charset="2"/>
        <a:buChar char="n"/>
        <a:defRPr sz="1867">
          <a:solidFill>
            <a:srgbClr val="000000"/>
          </a:solidFill>
          <a:latin typeface="Tahoma"/>
          <a:ea typeface="ＭＳ Ｐゴシック" charset="-128"/>
          <a:cs typeface="Tahoma"/>
        </a:defRPr>
      </a:lvl5pPr>
      <a:lvl6pPr marL="2878831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6pPr>
      <a:lvl7pPr marL="3398318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7pPr>
      <a:lvl8pPr marL="3917806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8pPr>
      <a:lvl9pPr marL="4437294" indent="-259744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2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025658" y="1411288"/>
            <a:ext cx="8180916" cy="5035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88951" y="246065"/>
            <a:ext cx="11216216" cy="806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3319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8951" y="1379540"/>
            <a:ext cx="11216216" cy="5100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Rectangle 4"/>
          <p:cNvSpPr>
            <a:spLocks noChangeArrowheads="1"/>
          </p:cNvSpPr>
          <p:nvPr userDrawn="1"/>
        </p:nvSpPr>
        <p:spPr bwMode="auto">
          <a:xfrm>
            <a:off x="0" y="6513518"/>
            <a:ext cx="12192000" cy="344487"/>
          </a:xfrm>
          <a:prstGeom prst="rect">
            <a:avLst/>
          </a:prstGeom>
          <a:gradFill flip="none" rotWithShape="1">
            <a:gsLst>
              <a:gs pos="0">
                <a:srgbClr val="800000"/>
              </a:gs>
              <a:gs pos="85000">
                <a:srgbClr val="FFFFFF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103900" tIns="51951" rIns="103900" bIns="51951" anchor="ctr"/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endParaRPr lang="en-US" sz="4267" b="1" dirty="0">
              <a:solidFill>
                <a:srgbClr val="00009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Text Box 10"/>
          <p:cNvSpPr txBox="1">
            <a:spLocks noChangeArrowheads="1"/>
          </p:cNvSpPr>
          <p:nvPr userDrawn="1"/>
        </p:nvSpPr>
        <p:spPr bwMode="auto">
          <a:xfrm>
            <a:off x="1140884" y="6549195"/>
            <a:ext cx="5018616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900" tIns="51951" rIns="103900" bIns="51951" anchor="ctr" anchorCtr="0">
            <a:noAutofit/>
          </a:bodyPr>
          <a:lstStyle/>
          <a:p>
            <a:pPr fontAlgn="base">
              <a:spcAft>
                <a:spcPct val="0"/>
              </a:spcAft>
              <a:buClr>
                <a:srgbClr val="FF3300"/>
              </a:buClr>
              <a:buFont typeface="Wingdings" pitchFamily="2" charset="2"/>
              <a:buNone/>
              <a:defRPr/>
            </a:pPr>
            <a:r>
              <a:rPr lang="en-GB" sz="1600" b="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leanuk.or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6066" y="6239347"/>
            <a:ext cx="1185940" cy="618652"/>
          </a:xfrm>
          <a:prstGeom prst="rect">
            <a:avLst/>
          </a:prstGeom>
        </p:spPr>
      </p:pic>
      <p:sp>
        <p:nvSpPr>
          <p:cNvPr id="17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0" y="6516616"/>
            <a:ext cx="11176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7925" tIns="38963" rIns="77925" bIns="38963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fontAlgn="base">
              <a:spcBef>
                <a:spcPct val="20000"/>
              </a:spcBef>
              <a:spcAft>
                <a:spcPct val="0"/>
              </a:spcAft>
              <a:buClr>
                <a:srgbClr val="FF3300"/>
              </a:buClr>
              <a:buFont typeface="Wingdings" charset="2"/>
              <a:buNone/>
            </a:pPr>
            <a:fld id="{13B9B73C-3867-304D-ABA3-D6FEE1C2514C}" type="slidenum">
              <a:rPr lang="en-US" b="1" smtClean="0">
                <a:solidFill>
                  <a:srgbClr val="FFFFFF"/>
                </a:solidFill>
              </a:rPr>
              <a:pPr fontAlgn="base">
                <a:spcBef>
                  <a:spcPct val="20000"/>
                </a:spcBef>
                <a:spcAft>
                  <a:spcPct val="0"/>
                </a:spcAft>
                <a:buClr>
                  <a:srgbClr val="FF3300"/>
                </a:buClr>
                <a:buFont typeface="Wingdings" charset="2"/>
                <a:buNone/>
              </a:pPr>
              <a:t>‹#›</a:t>
            </a:fld>
            <a:endParaRPr lang="en-US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4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</p:sldLayoutIdLst>
  <p:transition spd="med">
    <p:zoom/>
  </p:transition>
  <p:hf hdr="0" dt="0"/>
  <p:txStyles>
    <p:titleStyle>
      <a:lvl1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 b="1">
          <a:solidFill>
            <a:srgbClr val="990100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 b="1">
          <a:solidFill>
            <a:schemeClr val="tx1"/>
          </a:solidFill>
          <a:latin typeface="Verdana" pitchFamily="34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 b="1">
          <a:solidFill>
            <a:schemeClr val="tx1"/>
          </a:solidFill>
          <a:latin typeface="Verdana" pitchFamily="34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 b="1">
          <a:solidFill>
            <a:schemeClr val="tx1"/>
          </a:solidFill>
          <a:latin typeface="Verdana" pitchFamily="34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4800" b="1">
          <a:solidFill>
            <a:schemeClr val="tx1"/>
          </a:solidFill>
          <a:latin typeface="Verdana" pitchFamily="34" charset="0"/>
          <a:ea typeface="ＭＳ Ｐゴシック" charset="-128"/>
          <a:cs typeface="ＭＳ Ｐゴシック" charset="-128"/>
        </a:defRPr>
      </a:lvl5pPr>
      <a:lvl6pPr marL="609585" algn="ctr" rtl="0" fontAlgn="base">
        <a:lnSpc>
          <a:spcPct val="80000"/>
        </a:lnSpc>
        <a:spcBef>
          <a:spcPct val="0"/>
        </a:spcBef>
        <a:spcAft>
          <a:spcPct val="0"/>
        </a:spcAft>
        <a:defRPr sz="5333" b="1">
          <a:solidFill>
            <a:schemeClr val="tx1"/>
          </a:solidFill>
          <a:latin typeface="Verdana" pitchFamily="34" charset="0"/>
        </a:defRPr>
      </a:lvl6pPr>
      <a:lvl7pPr marL="1219170" algn="ctr" rtl="0" fontAlgn="base">
        <a:lnSpc>
          <a:spcPct val="80000"/>
        </a:lnSpc>
        <a:spcBef>
          <a:spcPct val="0"/>
        </a:spcBef>
        <a:spcAft>
          <a:spcPct val="0"/>
        </a:spcAft>
        <a:defRPr sz="5333" b="1">
          <a:solidFill>
            <a:schemeClr val="tx1"/>
          </a:solidFill>
          <a:latin typeface="Verdana" pitchFamily="34" charset="0"/>
        </a:defRPr>
      </a:lvl7pPr>
      <a:lvl8pPr marL="1828754" algn="ctr" rtl="0" fontAlgn="base">
        <a:lnSpc>
          <a:spcPct val="80000"/>
        </a:lnSpc>
        <a:spcBef>
          <a:spcPct val="0"/>
        </a:spcBef>
        <a:spcAft>
          <a:spcPct val="0"/>
        </a:spcAft>
        <a:defRPr sz="5333" b="1">
          <a:solidFill>
            <a:schemeClr val="tx1"/>
          </a:solidFill>
          <a:latin typeface="Verdana" pitchFamily="34" charset="0"/>
        </a:defRPr>
      </a:lvl8pPr>
      <a:lvl9pPr marL="2438339" algn="ctr" rtl="0" fontAlgn="base">
        <a:lnSpc>
          <a:spcPct val="80000"/>
        </a:lnSpc>
        <a:spcBef>
          <a:spcPct val="0"/>
        </a:spcBef>
        <a:spcAft>
          <a:spcPct val="0"/>
        </a:spcAft>
        <a:defRPr sz="5333" b="1">
          <a:solidFill>
            <a:schemeClr val="tx1"/>
          </a:solidFill>
          <a:latin typeface="Verdana" pitchFamily="34" charset="0"/>
        </a:defRPr>
      </a:lvl9pPr>
    </p:titleStyle>
    <p:bodyStyle>
      <a:lvl1pPr marL="457189" indent="-457189" algn="l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SzPct val="75000"/>
        <a:buFont typeface="Wingdings" charset="2"/>
        <a:buChar char="n"/>
        <a:defRPr sz="4267">
          <a:solidFill>
            <a:srgbClr val="990100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990575" indent="-380990" algn="l" rtl="0" eaLnBrk="0" fontAlgn="base" hangingPunct="0">
        <a:spcBef>
          <a:spcPct val="0"/>
        </a:spcBef>
        <a:spcAft>
          <a:spcPts val="800"/>
        </a:spcAft>
        <a:buClr>
          <a:srgbClr val="000000"/>
        </a:buClr>
        <a:buSzPct val="75000"/>
        <a:buFont typeface="Wingdings" charset="2"/>
        <a:buChar char="n"/>
        <a:defRPr sz="3733">
          <a:solidFill>
            <a:srgbClr val="990100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1642492" indent="-397923" algn="l" rtl="0" eaLnBrk="0" fontAlgn="base" hangingPunct="0">
        <a:spcBef>
          <a:spcPct val="0"/>
        </a:spcBef>
        <a:spcAft>
          <a:spcPts val="800"/>
        </a:spcAft>
        <a:buClr>
          <a:schemeClr val="accent1"/>
        </a:buClr>
        <a:buSzPct val="75000"/>
        <a:buFont typeface="Wingdings" charset="2"/>
        <a:buChar char="n"/>
        <a:defRPr sz="3200">
          <a:solidFill>
            <a:srgbClr val="990100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2209745" indent="-304792" algn="l" rtl="0" eaLnBrk="0" fontAlgn="base" hangingPunct="0">
        <a:spcBef>
          <a:spcPct val="0"/>
        </a:spcBef>
        <a:spcAft>
          <a:spcPts val="800"/>
        </a:spcAft>
        <a:buClr>
          <a:srgbClr val="FF3300"/>
        </a:buClr>
        <a:buSzPct val="75000"/>
        <a:buFont typeface="Wingdings" charset="2"/>
        <a:buChar char="n"/>
        <a:defRPr sz="2667">
          <a:solidFill>
            <a:srgbClr val="990100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2768531" indent="-304792" algn="l" rtl="0" eaLnBrk="0" fontAlgn="base" hangingPunct="0">
        <a:spcBef>
          <a:spcPct val="0"/>
        </a:spcBef>
        <a:spcAft>
          <a:spcPts val="800"/>
        </a:spcAft>
        <a:buClr>
          <a:srgbClr val="FF3300"/>
        </a:buClr>
        <a:buSzPct val="75000"/>
        <a:buFont typeface="Wingdings" charset="2"/>
        <a:buChar char="n"/>
        <a:defRPr sz="2667">
          <a:solidFill>
            <a:srgbClr val="990100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3378116" indent="-304792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6pPr>
      <a:lvl7pPr marL="3987700" indent="-304792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7pPr>
      <a:lvl8pPr marL="4597285" indent="-304792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8pPr>
      <a:lvl9pPr marL="5206870" indent="-304792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rgbClr val="FF3300"/>
        </a:buClr>
        <a:buSzPct val="75000"/>
        <a:buFont typeface="Wingdings" pitchFamily="2" charset="2"/>
        <a:buChar char="n"/>
        <a:defRPr sz="26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" name="think-cell Slide" r:id="rId24" imgW="352" imgH="355" progId="TCLayout.ActiveDocument.1">
                  <p:embed/>
                </p:oleObj>
              </mc:Choice>
              <mc:Fallback>
                <p:oleObj name="think-cell Slide" r:id="rId2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654" y="1905003"/>
            <a:ext cx="10969247" cy="39624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- Large heading/call out text</a:t>
            </a:r>
          </a:p>
          <a:p>
            <a:pPr lvl="1"/>
            <a:r>
              <a:rPr lang="en-US" dirty="0"/>
              <a:t>Level 2 - Small heading text</a:t>
            </a:r>
          </a:p>
          <a:p>
            <a:pPr lvl="2"/>
            <a:r>
              <a:rPr lang="en-US" dirty="0"/>
              <a:t>Level 3 - </a:t>
            </a:r>
            <a:r>
              <a:rPr lang="en-US" dirty="0" err="1"/>
              <a:t>Paragrah</a:t>
            </a:r>
            <a:r>
              <a:rPr lang="en-US" dirty="0"/>
              <a:t> text </a:t>
            </a:r>
          </a:p>
          <a:p>
            <a:pPr lvl="3"/>
            <a:r>
              <a:rPr lang="en-US" dirty="0"/>
              <a:t>Level 4 - Bullet tier one</a:t>
            </a:r>
          </a:p>
          <a:p>
            <a:pPr lvl="4"/>
            <a:r>
              <a:rPr lang="en-US" dirty="0"/>
              <a:t>Bullet level one</a:t>
            </a:r>
          </a:p>
          <a:p>
            <a:pPr lvl="5"/>
            <a:r>
              <a:rPr lang="en-US" dirty="0"/>
              <a:t>Bullet level two</a:t>
            </a:r>
          </a:p>
          <a:p>
            <a:pPr lvl="6"/>
            <a:r>
              <a:rPr lang="en-US" dirty="0"/>
              <a:t>Footnotes</a:t>
            </a:r>
          </a:p>
        </p:txBody>
      </p:sp>
      <p:sp>
        <p:nvSpPr>
          <p:cNvPr id="65" name="Rectangle 4" hidden="1"/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gray">
          <a:xfrm rot="16200000">
            <a:off x="9763734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dirty="0">
                <a:solidFill>
                  <a:srgbClr val="808080"/>
                </a:solidFill>
              </a:rPr>
              <a:t>Copyright © 2018 by The Boston Consulting Group, Inc. All rights reserved.</a:t>
            </a:r>
          </a:p>
        </p:txBody>
      </p:sp>
      <p:sp>
        <p:nvSpPr>
          <p:cNvPr id="66" name="FooterSimple" hidden="1"/>
          <p:cNvSpPr/>
          <p:nvPr userDrawn="1">
            <p:custDataLst>
              <p:tags r:id="rId23"/>
            </p:custDataLst>
          </p:nvPr>
        </p:nvSpPr>
        <p:spPr>
          <a:xfrm>
            <a:off x="609602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>
                <a:solidFill>
                  <a:srgbClr val="808080"/>
                </a:solidFill>
              </a:rPr>
              <a:t>180201 A Look Back_No Videos v23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69" name="TextBox 68"/>
          <p:cNvSpPr txBox="1"/>
          <p:nvPr userDrawn="1"/>
        </p:nvSpPr>
        <p:spPr>
          <a:xfrm>
            <a:off x="548165" y="6315085"/>
            <a:ext cx="498176" cy="304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100">
                <a:solidFill>
                  <a:srgbClr val="929D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fld id="{DFCF27A5-1A5B-48D3-A060-2758FFBB1ADD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Formular" charset="0"/>
                <a:ea typeface="Formular" charset="0"/>
                <a:cs typeface="Formular" charset="0"/>
                <a:sym typeface="Trebuchet MS" panose="020B0603020202020204" pitchFamily="34" charset="0"/>
              </a:rPr>
              <a:pPr algn="l"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  <a:latin typeface="Formular" charset="0"/>
              <a:ea typeface="Formular" charset="0"/>
              <a:cs typeface="Formular" charset="0"/>
              <a:sym typeface="Trebuchet MS" panose="020B0603020202020204" pitchFamily="34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063" y="6304680"/>
            <a:ext cx="1600201" cy="360406"/>
          </a:xfrm>
          <a:prstGeom prst="rect">
            <a:avLst/>
          </a:prstGeom>
        </p:spPr>
      </p:pic>
      <p:sp>
        <p:nvSpPr>
          <p:cNvPr id="73" name="Oval 72"/>
          <p:cNvSpPr/>
          <p:nvPr userDrawn="1"/>
        </p:nvSpPr>
        <p:spPr>
          <a:xfrm flipH="1">
            <a:off x="-233992" y="587269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825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</p:sldLayoutIdLst>
  <p:hf hdr="0" dt="0"/>
  <p:txStyles>
    <p:titleStyle>
      <a:lvl1pPr algn="ctr" defTabSz="742727" rtl="0" eaLnBrk="1" latinLnBrk="0" hangingPunct="1">
        <a:lnSpc>
          <a:spcPct val="100000"/>
        </a:lnSpc>
        <a:spcBef>
          <a:spcPct val="0"/>
        </a:spcBef>
        <a:buNone/>
        <a:defRPr sz="1200" b="0" kern="1200">
          <a:solidFill>
            <a:schemeClr val="bg1">
              <a:lumMod val="85000"/>
            </a:schemeClr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1pPr>
    </p:titleStyle>
    <p:bodyStyle>
      <a:lvl1pPr marL="0" indent="0" algn="l" defTabSz="742727" rtl="0" eaLnBrk="1" latinLnBrk="0" hangingPunct="1">
        <a:lnSpc>
          <a:spcPct val="100000"/>
        </a:lnSpc>
        <a:spcBef>
          <a:spcPts val="488"/>
        </a:spcBef>
        <a:buFontTx/>
        <a:buNone/>
        <a:defRPr sz="3600" b="1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1pPr>
      <a:lvl2pPr marL="0" indent="0" algn="l" defTabSz="742727" rtl="0" eaLnBrk="1" latinLnBrk="0" hangingPunct="1">
        <a:lnSpc>
          <a:spcPct val="100000"/>
        </a:lnSpc>
        <a:spcBef>
          <a:spcPts val="488"/>
        </a:spcBef>
        <a:buFontTx/>
        <a:buNone/>
        <a:defRPr sz="2400" b="1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2pPr>
      <a:lvl3pPr marL="0" indent="0" algn="l" defTabSz="742727" rtl="0" eaLnBrk="1" latinLnBrk="0" hangingPunct="1">
        <a:lnSpc>
          <a:spcPct val="100000"/>
        </a:lnSpc>
        <a:spcBef>
          <a:spcPts val="488"/>
        </a:spcBef>
        <a:buFontTx/>
        <a:buNone/>
        <a:defRPr sz="2400" b="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3pPr>
      <a:lvl4pPr marL="232102" indent="-232102" algn="l" defTabSz="742727" rtl="0" eaLnBrk="1" latinLnBrk="0" hangingPunct="1">
        <a:lnSpc>
          <a:spcPct val="100000"/>
        </a:lnSpc>
        <a:spcBef>
          <a:spcPts val="488"/>
        </a:spcBef>
        <a:buClr>
          <a:schemeClr val="accent1"/>
        </a:buClr>
        <a:buSzPct val="125000"/>
        <a:buFont typeface="Arial" charset="0"/>
        <a:buChar char="•"/>
        <a:defRPr sz="240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4pPr>
      <a:lvl5pPr marL="371364" indent="-185682" algn="l" defTabSz="742727" rtl="0" eaLnBrk="1" latinLnBrk="0" hangingPunct="1">
        <a:lnSpc>
          <a:spcPct val="100000"/>
        </a:lnSpc>
        <a:spcBef>
          <a:spcPts val="488"/>
        </a:spcBef>
        <a:buClr>
          <a:schemeClr val="tx1"/>
        </a:buClr>
        <a:buSzPct val="100000"/>
        <a:buFont typeface="Arial" charset="0"/>
        <a:buChar char="•"/>
        <a:defRPr sz="220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5pPr>
      <a:lvl6pPr marL="557046" indent="-185682" algn="l" defTabSz="742727" rtl="0" eaLnBrk="1" latinLnBrk="0" hangingPunct="1">
        <a:lnSpc>
          <a:spcPct val="100000"/>
        </a:lnSpc>
        <a:spcBef>
          <a:spcPts val="488"/>
        </a:spcBef>
        <a:buClr>
          <a:schemeClr val="tx1"/>
        </a:buClr>
        <a:buSzPct val="100000"/>
        <a:buFont typeface=".AppleSystemUIFont" charset="-120"/>
        <a:buChar char="-"/>
        <a:defRPr sz="200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6pPr>
      <a:lvl7pPr marL="0" indent="0" algn="l" defTabSz="742727" rtl="0" eaLnBrk="1" latinLnBrk="0" hangingPunct="1">
        <a:lnSpc>
          <a:spcPct val="90000"/>
        </a:lnSpc>
        <a:spcBef>
          <a:spcPts val="488"/>
        </a:spcBef>
        <a:buFontTx/>
        <a:buNone/>
        <a:defRPr sz="1800" i="1" kern="1200">
          <a:solidFill>
            <a:srgbClr val="929D96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7pPr>
      <a:lvl8pPr marL="0" indent="0" algn="l" defTabSz="742727" rtl="0" eaLnBrk="1" latinLnBrk="0" hangingPunct="1">
        <a:lnSpc>
          <a:spcPct val="100000"/>
        </a:lnSpc>
        <a:spcBef>
          <a:spcPts val="975"/>
        </a:spcBef>
        <a:buFontTx/>
        <a:buNone/>
        <a:defRPr sz="1300" b="0" i="1" kern="1200" baseline="0">
          <a:solidFill>
            <a:schemeClr val="accent4"/>
          </a:solidFill>
          <a:latin typeface="+mn-lt"/>
          <a:ea typeface="+mn-ea"/>
          <a:cs typeface="+mn-cs"/>
        </a:defRPr>
      </a:lvl8pPr>
      <a:lvl9pPr marL="0" indent="0" algn="l" defTabSz="742727" rtl="0" eaLnBrk="1" latinLnBrk="0" hangingPunct="1">
        <a:lnSpc>
          <a:spcPct val="90000"/>
        </a:lnSpc>
        <a:spcBef>
          <a:spcPts val="406"/>
        </a:spcBef>
        <a:buFontTx/>
        <a:buNone/>
        <a:defRPr sz="162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364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727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091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454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6818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545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0908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68">
          <p15:clr>
            <a:srgbClr val="A4A3A4"/>
          </p15:clr>
        </p15:guide>
        <p15:guide id="2" pos="4963">
          <p15:clr>
            <a:srgbClr val="A4A3A4"/>
          </p15:clr>
        </p15:guide>
        <p15:guide id="3" pos="4018">
          <p15:clr>
            <a:srgbClr val="A4A3A4"/>
          </p15:clr>
        </p15:guide>
        <p15:guide id="4" pos="5200">
          <p15:clr>
            <a:srgbClr val="A4A3A4"/>
          </p15:clr>
        </p15:guide>
        <p15:guide id="5" pos="4255">
          <p15:clr>
            <a:srgbClr val="A4A3A4"/>
          </p15:clr>
        </p15:guide>
        <p15:guide id="6" pos="5436">
          <p15:clr>
            <a:srgbClr val="A4A3A4"/>
          </p15:clr>
        </p15:guide>
        <p15:guide id="7" pos="3782">
          <p15:clr>
            <a:srgbClr val="A4A3A4"/>
          </p15:clr>
        </p15:guide>
        <p15:guide id="8" pos="5672">
          <p15:clr>
            <a:srgbClr val="A4A3A4"/>
          </p15:clr>
        </p15:guide>
        <p15:guide id="9" pos="3546">
          <p15:clr>
            <a:srgbClr val="A4A3A4"/>
          </p15:clr>
        </p15:guide>
        <p15:guide id="10" pos="5910">
          <p15:clr>
            <a:srgbClr val="A4A3A4"/>
          </p15:clr>
        </p15:guide>
        <p15:guide id="11" pos="3309">
          <p15:clr>
            <a:srgbClr val="A4A3A4"/>
          </p15:clr>
        </p15:guide>
        <p15:guide id="12" pos="6146">
          <p15:clr>
            <a:srgbClr val="A4A3A4"/>
          </p15:clr>
        </p15:guide>
        <p15:guide id="13" pos="3073">
          <p15:clr>
            <a:srgbClr val="A4A3A4"/>
          </p15:clr>
        </p15:guide>
        <p15:guide id="14" pos="6382">
          <p15:clr>
            <a:srgbClr val="A4A3A4"/>
          </p15:clr>
        </p15:guide>
        <p15:guide id="15" pos="2837">
          <p15:clr>
            <a:srgbClr val="A4A3A4"/>
          </p15:clr>
        </p15:guide>
        <p15:guide id="16" pos="6619">
          <p15:clr>
            <a:srgbClr val="A4A3A4"/>
          </p15:clr>
        </p15:guide>
        <p15:guide id="17" pos="2600">
          <p15:clr>
            <a:srgbClr val="F26B43"/>
          </p15:clr>
        </p15:guide>
        <p15:guide id="18" pos="6855">
          <p15:clr>
            <a:srgbClr val="F26B43"/>
          </p15:clr>
        </p15:guide>
        <p15:guide id="19" pos="2364">
          <p15:clr>
            <a:srgbClr val="A4A3A4"/>
          </p15:clr>
        </p15:guide>
        <p15:guide id="20" pos="7091">
          <p15:clr>
            <a:srgbClr val="A4A3A4"/>
          </p15:clr>
        </p15:guide>
        <p15:guide id="21" pos="2128">
          <p15:clr>
            <a:srgbClr val="A4A3A4"/>
          </p15:clr>
        </p15:guide>
        <p15:guide id="22" orient="horz" pos="1776">
          <p15:clr>
            <a:srgbClr val="A4A3A4"/>
          </p15:clr>
        </p15:guide>
        <p15:guide id="23" pos="7328">
          <p15:clr>
            <a:srgbClr val="A4A3A4"/>
          </p15:clr>
        </p15:guide>
        <p15:guide id="24" pos="1890">
          <p15:clr>
            <a:srgbClr val="A4A3A4"/>
          </p15:clr>
        </p15:guide>
        <p15:guide id="25" pos="7564">
          <p15:clr>
            <a:srgbClr val="A4A3A4"/>
          </p15:clr>
        </p15:guide>
        <p15:guide id="26" pos="1654">
          <p15:clr>
            <a:srgbClr val="A4A3A4"/>
          </p15:clr>
        </p15:guide>
        <p15:guide id="27" pos="7800">
          <p15:clr>
            <a:srgbClr val="A4A3A4"/>
          </p15:clr>
        </p15:guide>
        <p15:guide id="28" pos="1418">
          <p15:clr>
            <a:srgbClr val="A4A3A4"/>
          </p15:clr>
        </p15:guide>
        <p15:guide id="29" pos="8036">
          <p15:clr>
            <a:srgbClr val="A4A3A4"/>
          </p15:clr>
        </p15:guide>
        <p15:guide id="30" pos="1182">
          <p15:clr>
            <a:srgbClr val="A4A3A4"/>
          </p15:clr>
        </p15:guide>
        <p15:guide id="31" pos="8273">
          <p15:clr>
            <a:srgbClr val="A4A3A4"/>
          </p15:clr>
        </p15:guide>
        <p15:guide id="32" pos="945">
          <p15:clr>
            <a:srgbClr val="A4A3A4"/>
          </p15:clr>
        </p15:guide>
        <p15:guide id="33" pos="8509">
          <p15:clr>
            <a:srgbClr val="A4A3A4"/>
          </p15:clr>
        </p15:guide>
        <p15:guide id="34" pos="709">
          <p15:clr>
            <a:srgbClr val="A4A3A4"/>
          </p15:clr>
        </p15:guide>
        <p15:guide id="35" pos="8745">
          <p15:clr>
            <a:srgbClr val="A4A3A4"/>
          </p15:clr>
        </p15:guide>
        <p15:guide id="36" pos="473">
          <p15:clr>
            <a:srgbClr val="F26B43"/>
          </p15:clr>
        </p15:guide>
        <p15:guide id="37" pos="8982">
          <p15:clr>
            <a:srgbClr val="F26B43"/>
          </p15:clr>
        </p15:guide>
        <p15:guide id="38" pos="236">
          <p15:clr>
            <a:srgbClr val="A4A3A4"/>
          </p15:clr>
        </p15:guide>
        <p15:guide id="39" pos="9218">
          <p15:clr>
            <a:srgbClr val="A4A3A4"/>
          </p15:clr>
        </p15:guide>
        <p15:guide id="40" orient="horz" pos="2544">
          <p15:clr>
            <a:srgbClr val="A4A3A4"/>
          </p15:clr>
        </p15:guide>
        <p15:guide id="41" orient="horz" pos="1584">
          <p15:clr>
            <a:srgbClr val="A4A3A4"/>
          </p15:clr>
        </p15:guide>
        <p15:guide id="42" orient="horz" pos="2736">
          <p15:clr>
            <a:srgbClr val="A4A3A4"/>
          </p15:clr>
        </p15:guide>
        <p15:guide id="43" orient="horz" pos="1392">
          <p15:clr>
            <a:srgbClr val="A4A3A4"/>
          </p15:clr>
        </p15:guide>
        <p15:guide id="44" orient="horz" pos="2928">
          <p15:clr>
            <a:srgbClr val="A4A3A4"/>
          </p15:clr>
        </p15:guide>
        <p15:guide id="45" orient="horz" pos="1200">
          <p15:clr>
            <a:srgbClr val="F26B43"/>
          </p15:clr>
        </p15:guide>
        <p15:guide id="46" orient="horz" pos="3120">
          <p15:clr>
            <a:srgbClr val="A4A3A4"/>
          </p15:clr>
        </p15:guide>
        <p15:guide id="47" orient="horz" pos="1008">
          <p15:clr>
            <a:srgbClr val="A4A3A4"/>
          </p15:clr>
        </p15:guide>
        <p15:guide id="48" orient="horz" pos="3312">
          <p15:clr>
            <a:srgbClr val="A4A3A4"/>
          </p15:clr>
        </p15:guide>
        <p15:guide id="49" orient="horz" pos="816">
          <p15:clr>
            <a:srgbClr val="F26B43"/>
          </p15:clr>
        </p15:guide>
        <p15:guide id="50" orient="horz" pos="3504">
          <p15:clr>
            <a:srgbClr val="A4A3A4"/>
          </p15:clr>
        </p15:guide>
        <p15:guide id="51" orient="horz" pos="624">
          <p15:clr>
            <a:srgbClr val="A4A3A4"/>
          </p15:clr>
        </p15:guide>
        <p15:guide id="52" orient="horz" pos="3696">
          <p15:clr>
            <a:srgbClr val="F26B43"/>
          </p15:clr>
        </p15:guide>
        <p15:guide id="53" orient="horz" pos="432">
          <p15:clr>
            <a:srgbClr val="A4A3A4"/>
          </p15:clr>
        </p15:guide>
        <p15:guide id="54" orient="horz" pos="3888">
          <p15:clr>
            <a:srgbClr val="A4A3A4"/>
          </p15:clr>
        </p15:guide>
        <p15:guide id="55" orient="horz" pos="240">
          <p15:clr>
            <a:srgbClr val="F26B43"/>
          </p15:clr>
        </p15:guide>
        <p15:guide id="56" orient="horz" pos="4080">
          <p15:clr>
            <a:srgbClr val="A4A3A4"/>
          </p15:clr>
        </p15:guide>
        <p15:guide id="57" orient="horz" pos="48">
          <p15:clr>
            <a:srgbClr val="A4A3A4"/>
          </p15:clr>
        </p15:guide>
        <p15:guide id="58" orient="horz" pos="4272">
          <p15:clr>
            <a:srgbClr val="A4A3A4"/>
          </p15:clr>
        </p15:guide>
        <p15:guide id="59" orient="horz" pos="2352">
          <p15:clr>
            <a:srgbClr val="A4A3A4"/>
          </p15:clr>
        </p15:guide>
        <p15:guide id="60" orient="horz" pos="2160">
          <p15:clr>
            <a:srgbClr val="F26B43"/>
          </p15:clr>
        </p15:guide>
        <p15:guide id="61" pos="4727">
          <p15:clr>
            <a:srgbClr val="F26B43"/>
          </p15:clr>
        </p15:guide>
        <p15:guide id="62" pos="4491">
          <p15:clr>
            <a:srgbClr val="A4A3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" name="think-cell Slide" r:id="rId24" imgW="352" imgH="355" progId="TCLayout.ActiveDocument.1">
                  <p:embed/>
                </p:oleObj>
              </mc:Choice>
              <mc:Fallback>
                <p:oleObj name="think-cell Slide" r:id="rId2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4654" y="1905003"/>
            <a:ext cx="10969247" cy="396240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Level 1 - Large heading/call out text</a:t>
            </a:r>
          </a:p>
          <a:p>
            <a:pPr lvl="1"/>
            <a:r>
              <a:rPr lang="en-US" dirty="0"/>
              <a:t>Level 2 - Small heading text</a:t>
            </a:r>
          </a:p>
          <a:p>
            <a:pPr lvl="2"/>
            <a:r>
              <a:rPr lang="en-US" dirty="0"/>
              <a:t>Level 3 - </a:t>
            </a:r>
            <a:r>
              <a:rPr lang="en-US" dirty="0" err="1"/>
              <a:t>Paragrah</a:t>
            </a:r>
            <a:r>
              <a:rPr lang="en-US" dirty="0"/>
              <a:t> text </a:t>
            </a:r>
          </a:p>
          <a:p>
            <a:pPr lvl="3"/>
            <a:r>
              <a:rPr lang="en-US" dirty="0"/>
              <a:t>Level 4 - Bullet tier one</a:t>
            </a:r>
          </a:p>
          <a:p>
            <a:pPr lvl="4"/>
            <a:r>
              <a:rPr lang="en-US" dirty="0"/>
              <a:t>Bullet level one</a:t>
            </a:r>
          </a:p>
          <a:p>
            <a:pPr lvl="5"/>
            <a:r>
              <a:rPr lang="en-US" dirty="0"/>
              <a:t>Bullet level two</a:t>
            </a:r>
          </a:p>
          <a:p>
            <a:pPr lvl="6"/>
            <a:r>
              <a:rPr lang="en-US" dirty="0"/>
              <a:t>Footnotes</a:t>
            </a:r>
          </a:p>
        </p:txBody>
      </p:sp>
      <p:sp>
        <p:nvSpPr>
          <p:cNvPr id="65" name="Rectangle 4" hidden="1"/>
          <p:cNvSpPr>
            <a:spLocks noChangeArrowheads="1"/>
          </p:cNvSpPr>
          <p:nvPr userDrawn="1">
            <p:custDataLst>
              <p:tags r:id="rId22"/>
            </p:custDataLst>
          </p:nvPr>
        </p:nvSpPr>
        <p:spPr bwMode="gray">
          <a:xfrm rot="16200000">
            <a:off x="9763734" y="4249738"/>
            <a:ext cx="4560888" cy="2016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anchor="b"/>
          <a:lstStyle/>
          <a:p>
            <a:r>
              <a:rPr lang="en-US" sz="700" dirty="0">
                <a:solidFill>
                  <a:srgbClr val="808080"/>
                </a:solidFill>
              </a:rPr>
              <a:t>Copyright © 2018 by The Boston Consulting Group, Inc. All rights reserved.</a:t>
            </a:r>
          </a:p>
        </p:txBody>
      </p:sp>
      <p:sp>
        <p:nvSpPr>
          <p:cNvPr id="66" name="FooterSimple" hidden="1"/>
          <p:cNvSpPr/>
          <p:nvPr userDrawn="1">
            <p:custDataLst>
              <p:tags r:id="rId23"/>
            </p:custDataLst>
          </p:nvPr>
        </p:nvSpPr>
        <p:spPr>
          <a:xfrm>
            <a:off x="609602" y="6699600"/>
            <a:ext cx="6444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>
                <a:solidFill>
                  <a:srgbClr val="808080"/>
                </a:solidFill>
              </a:rPr>
              <a:t>180201 A Look Back_No Videos v23.pptx</a:t>
            </a:r>
            <a:endParaRPr lang="en-US" sz="700" dirty="0">
              <a:solidFill>
                <a:srgbClr val="808080"/>
              </a:solidFill>
            </a:endParaRPr>
          </a:p>
        </p:txBody>
      </p:sp>
      <p:sp>
        <p:nvSpPr>
          <p:cNvPr id="69" name="TextBox 68"/>
          <p:cNvSpPr txBox="1"/>
          <p:nvPr userDrawn="1"/>
        </p:nvSpPr>
        <p:spPr>
          <a:xfrm>
            <a:off x="548165" y="6315085"/>
            <a:ext cx="498176" cy="3048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>
              <a:defRPr sz="1100">
                <a:solidFill>
                  <a:srgbClr val="929D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/>
            <a:fld id="{DFCF27A5-1A5B-48D3-A060-2758FFBB1ADD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Formular" charset="0"/>
                <a:ea typeface="Formular" charset="0"/>
                <a:cs typeface="Formular" charset="0"/>
                <a:sym typeface="Trebuchet MS" panose="020B0603020202020204" pitchFamily="34" charset="0"/>
              </a:rPr>
              <a:pPr algn="l"/>
              <a:t>‹#›</a:t>
            </a:fld>
            <a:endParaRPr lang="en-US" dirty="0">
              <a:solidFill>
                <a:srgbClr val="FFFFFF">
                  <a:lumMod val="65000"/>
                </a:srgbClr>
              </a:solidFill>
              <a:latin typeface="Formular" charset="0"/>
              <a:ea typeface="Formular" charset="0"/>
              <a:cs typeface="Formular" charset="0"/>
              <a:sym typeface="Trebuchet MS" panose="020B0603020202020204" pitchFamily="34" charset="0"/>
            </a:endParaRPr>
          </a:p>
        </p:txBody>
      </p:sp>
      <p:pic>
        <p:nvPicPr>
          <p:cNvPr id="70" name="Picture 69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063" y="6304680"/>
            <a:ext cx="1600201" cy="360406"/>
          </a:xfrm>
          <a:prstGeom prst="rect">
            <a:avLst/>
          </a:prstGeom>
        </p:spPr>
      </p:pic>
      <p:sp>
        <p:nvSpPr>
          <p:cNvPr id="73" name="Oval 72"/>
          <p:cNvSpPr/>
          <p:nvPr userDrawn="1"/>
        </p:nvSpPr>
        <p:spPr>
          <a:xfrm flipH="1">
            <a:off x="-233992" y="587269"/>
            <a:ext cx="467984" cy="45224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17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</p:sldLayoutIdLst>
  <p:hf hdr="0" dt="0"/>
  <p:txStyles>
    <p:titleStyle>
      <a:lvl1pPr algn="ctr" defTabSz="742727" rtl="0" eaLnBrk="1" latinLnBrk="0" hangingPunct="1">
        <a:lnSpc>
          <a:spcPct val="100000"/>
        </a:lnSpc>
        <a:spcBef>
          <a:spcPct val="0"/>
        </a:spcBef>
        <a:buNone/>
        <a:defRPr sz="1200" b="0" kern="1200">
          <a:solidFill>
            <a:schemeClr val="bg1">
              <a:lumMod val="85000"/>
            </a:schemeClr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1pPr>
    </p:titleStyle>
    <p:bodyStyle>
      <a:lvl1pPr marL="0" indent="0" algn="l" defTabSz="742727" rtl="0" eaLnBrk="1" latinLnBrk="0" hangingPunct="1">
        <a:lnSpc>
          <a:spcPct val="100000"/>
        </a:lnSpc>
        <a:spcBef>
          <a:spcPts val="488"/>
        </a:spcBef>
        <a:buFontTx/>
        <a:buNone/>
        <a:defRPr sz="3600" b="1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1pPr>
      <a:lvl2pPr marL="0" indent="0" algn="l" defTabSz="742727" rtl="0" eaLnBrk="1" latinLnBrk="0" hangingPunct="1">
        <a:lnSpc>
          <a:spcPct val="100000"/>
        </a:lnSpc>
        <a:spcBef>
          <a:spcPts val="488"/>
        </a:spcBef>
        <a:buFontTx/>
        <a:buNone/>
        <a:defRPr sz="2400" b="1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2pPr>
      <a:lvl3pPr marL="0" indent="0" algn="l" defTabSz="742727" rtl="0" eaLnBrk="1" latinLnBrk="0" hangingPunct="1">
        <a:lnSpc>
          <a:spcPct val="100000"/>
        </a:lnSpc>
        <a:spcBef>
          <a:spcPts val="488"/>
        </a:spcBef>
        <a:buFontTx/>
        <a:buNone/>
        <a:defRPr sz="2400" b="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3pPr>
      <a:lvl4pPr marL="232102" indent="-232102" algn="l" defTabSz="742727" rtl="0" eaLnBrk="1" latinLnBrk="0" hangingPunct="1">
        <a:lnSpc>
          <a:spcPct val="100000"/>
        </a:lnSpc>
        <a:spcBef>
          <a:spcPts val="488"/>
        </a:spcBef>
        <a:buClr>
          <a:schemeClr val="accent1"/>
        </a:buClr>
        <a:buSzPct val="125000"/>
        <a:buFont typeface="Arial" charset="0"/>
        <a:buChar char="•"/>
        <a:defRPr sz="240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4pPr>
      <a:lvl5pPr marL="371364" indent="-185682" algn="l" defTabSz="742727" rtl="0" eaLnBrk="1" latinLnBrk="0" hangingPunct="1">
        <a:lnSpc>
          <a:spcPct val="100000"/>
        </a:lnSpc>
        <a:spcBef>
          <a:spcPts val="488"/>
        </a:spcBef>
        <a:buClr>
          <a:schemeClr val="tx1"/>
        </a:buClr>
        <a:buSzPct val="100000"/>
        <a:buFont typeface="Arial" charset="0"/>
        <a:buChar char="•"/>
        <a:defRPr sz="220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5pPr>
      <a:lvl6pPr marL="557046" indent="-185682" algn="l" defTabSz="742727" rtl="0" eaLnBrk="1" latinLnBrk="0" hangingPunct="1">
        <a:lnSpc>
          <a:spcPct val="100000"/>
        </a:lnSpc>
        <a:spcBef>
          <a:spcPts val="488"/>
        </a:spcBef>
        <a:buClr>
          <a:schemeClr val="tx1"/>
        </a:buClr>
        <a:buSzPct val="100000"/>
        <a:buFont typeface=".AppleSystemUIFont" charset="-120"/>
        <a:buChar char="-"/>
        <a:defRPr sz="2000" kern="1200" baseline="0">
          <a:solidFill>
            <a:schemeClr val="tx1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6pPr>
      <a:lvl7pPr marL="0" indent="0" algn="l" defTabSz="742727" rtl="0" eaLnBrk="1" latinLnBrk="0" hangingPunct="1">
        <a:lnSpc>
          <a:spcPct val="90000"/>
        </a:lnSpc>
        <a:spcBef>
          <a:spcPts val="488"/>
        </a:spcBef>
        <a:buFontTx/>
        <a:buNone/>
        <a:defRPr sz="1800" i="1" kern="1200">
          <a:solidFill>
            <a:srgbClr val="929D96"/>
          </a:solidFill>
          <a:latin typeface="Formular" charset="0"/>
          <a:ea typeface="Formular" charset="0"/>
          <a:cs typeface="Formular" charset="0"/>
          <a:sym typeface="Arial" panose="020B0604020202020204" pitchFamily="34" charset="0"/>
        </a:defRPr>
      </a:lvl7pPr>
      <a:lvl8pPr marL="0" indent="0" algn="l" defTabSz="742727" rtl="0" eaLnBrk="1" latinLnBrk="0" hangingPunct="1">
        <a:lnSpc>
          <a:spcPct val="100000"/>
        </a:lnSpc>
        <a:spcBef>
          <a:spcPts val="975"/>
        </a:spcBef>
        <a:buFontTx/>
        <a:buNone/>
        <a:defRPr sz="1300" b="0" i="1" kern="1200" baseline="0">
          <a:solidFill>
            <a:schemeClr val="accent4"/>
          </a:solidFill>
          <a:latin typeface="+mn-lt"/>
          <a:ea typeface="+mn-ea"/>
          <a:cs typeface="+mn-cs"/>
        </a:defRPr>
      </a:lvl8pPr>
      <a:lvl9pPr marL="0" indent="0" algn="l" defTabSz="742727" rtl="0" eaLnBrk="1" latinLnBrk="0" hangingPunct="1">
        <a:lnSpc>
          <a:spcPct val="90000"/>
        </a:lnSpc>
        <a:spcBef>
          <a:spcPts val="406"/>
        </a:spcBef>
        <a:buFontTx/>
        <a:buNone/>
        <a:defRPr sz="162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364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727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091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454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6818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545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0908" algn="l" defTabSz="742727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68">
          <p15:clr>
            <a:srgbClr val="A4A3A4"/>
          </p15:clr>
        </p15:guide>
        <p15:guide id="2" pos="4963">
          <p15:clr>
            <a:srgbClr val="A4A3A4"/>
          </p15:clr>
        </p15:guide>
        <p15:guide id="3" pos="4018">
          <p15:clr>
            <a:srgbClr val="A4A3A4"/>
          </p15:clr>
        </p15:guide>
        <p15:guide id="4" pos="5200">
          <p15:clr>
            <a:srgbClr val="A4A3A4"/>
          </p15:clr>
        </p15:guide>
        <p15:guide id="5" pos="4255">
          <p15:clr>
            <a:srgbClr val="A4A3A4"/>
          </p15:clr>
        </p15:guide>
        <p15:guide id="6" pos="5436">
          <p15:clr>
            <a:srgbClr val="A4A3A4"/>
          </p15:clr>
        </p15:guide>
        <p15:guide id="7" pos="3782">
          <p15:clr>
            <a:srgbClr val="A4A3A4"/>
          </p15:clr>
        </p15:guide>
        <p15:guide id="8" pos="5672">
          <p15:clr>
            <a:srgbClr val="A4A3A4"/>
          </p15:clr>
        </p15:guide>
        <p15:guide id="9" pos="3546">
          <p15:clr>
            <a:srgbClr val="A4A3A4"/>
          </p15:clr>
        </p15:guide>
        <p15:guide id="10" pos="5910">
          <p15:clr>
            <a:srgbClr val="A4A3A4"/>
          </p15:clr>
        </p15:guide>
        <p15:guide id="11" pos="3309">
          <p15:clr>
            <a:srgbClr val="A4A3A4"/>
          </p15:clr>
        </p15:guide>
        <p15:guide id="12" pos="6146">
          <p15:clr>
            <a:srgbClr val="A4A3A4"/>
          </p15:clr>
        </p15:guide>
        <p15:guide id="13" pos="3073">
          <p15:clr>
            <a:srgbClr val="A4A3A4"/>
          </p15:clr>
        </p15:guide>
        <p15:guide id="14" pos="6382">
          <p15:clr>
            <a:srgbClr val="A4A3A4"/>
          </p15:clr>
        </p15:guide>
        <p15:guide id="15" pos="2837">
          <p15:clr>
            <a:srgbClr val="A4A3A4"/>
          </p15:clr>
        </p15:guide>
        <p15:guide id="16" pos="6619">
          <p15:clr>
            <a:srgbClr val="A4A3A4"/>
          </p15:clr>
        </p15:guide>
        <p15:guide id="17" pos="2600">
          <p15:clr>
            <a:srgbClr val="F26B43"/>
          </p15:clr>
        </p15:guide>
        <p15:guide id="18" pos="6855">
          <p15:clr>
            <a:srgbClr val="F26B43"/>
          </p15:clr>
        </p15:guide>
        <p15:guide id="19" pos="2364">
          <p15:clr>
            <a:srgbClr val="A4A3A4"/>
          </p15:clr>
        </p15:guide>
        <p15:guide id="20" pos="7091">
          <p15:clr>
            <a:srgbClr val="A4A3A4"/>
          </p15:clr>
        </p15:guide>
        <p15:guide id="21" pos="2128">
          <p15:clr>
            <a:srgbClr val="A4A3A4"/>
          </p15:clr>
        </p15:guide>
        <p15:guide id="22" orient="horz" pos="1776">
          <p15:clr>
            <a:srgbClr val="A4A3A4"/>
          </p15:clr>
        </p15:guide>
        <p15:guide id="23" pos="7328">
          <p15:clr>
            <a:srgbClr val="A4A3A4"/>
          </p15:clr>
        </p15:guide>
        <p15:guide id="24" pos="1890">
          <p15:clr>
            <a:srgbClr val="A4A3A4"/>
          </p15:clr>
        </p15:guide>
        <p15:guide id="25" pos="7564">
          <p15:clr>
            <a:srgbClr val="A4A3A4"/>
          </p15:clr>
        </p15:guide>
        <p15:guide id="26" pos="1654">
          <p15:clr>
            <a:srgbClr val="A4A3A4"/>
          </p15:clr>
        </p15:guide>
        <p15:guide id="27" pos="7800">
          <p15:clr>
            <a:srgbClr val="A4A3A4"/>
          </p15:clr>
        </p15:guide>
        <p15:guide id="28" pos="1418">
          <p15:clr>
            <a:srgbClr val="A4A3A4"/>
          </p15:clr>
        </p15:guide>
        <p15:guide id="29" pos="8036">
          <p15:clr>
            <a:srgbClr val="A4A3A4"/>
          </p15:clr>
        </p15:guide>
        <p15:guide id="30" pos="1182">
          <p15:clr>
            <a:srgbClr val="A4A3A4"/>
          </p15:clr>
        </p15:guide>
        <p15:guide id="31" pos="8273">
          <p15:clr>
            <a:srgbClr val="A4A3A4"/>
          </p15:clr>
        </p15:guide>
        <p15:guide id="32" pos="945">
          <p15:clr>
            <a:srgbClr val="A4A3A4"/>
          </p15:clr>
        </p15:guide>
        <p15:guide id="33" pos="8509">
          <p15:clr>
            <a:srgbClr val="A4A3A4"/>
          </p15:clr>
        </p15:guide>
        <p15:guide id="34" pos="709">
          <p15:clr>
            <a:srgbClr val="A4A3A4"/>
          </p15:clr>
        </p15:guide>
        <p15:guide id="35" pos="8745">
          <p15:clr>
            <a:srgbClr val="A4A3A4"/>
          </p15:clr>
        </p15:guide>
        <p15:guide id="36" pos="473">
          <p15:clr>
            <a:srgbClr val="F26B43"/>
          </p15:clr>
        </p15:guide>
        <p15:guide id="37" pos="8982">
          <p15:clr>
            <a:srgbClr val="F26B43"/>
          </p15:clr>
        </p15:guide>
        <p15:guide id="38" pos="236">
          <p15:clr>
            <a:srgbClr val="A4A3A4"/>
          </p15:clr>
        </p15:guide>
        <p15:guide id="39" pos="9218">
          <p15:clr>
            <a:srgbClr val="A4A3A4"/>
          </p15:clr>
        </p15:guide>
        <p15:guide id="40" orient="horz" pos="2544">
          <p15:clr>
            <a:srgbClr val="A4A3A4"/>
          </p15:clr>
        </p15:guide>
        <p15:guide id="41" orient="horz" pos="1584">
          <p15:clr>
            <a:srgbClr val="A4A3A4"/>
          </p15:clr>
        </p15:guide>
        <p15:guide id="42" orient="horz" pos="2736">
          <p15:clr>
            <a:srgbClr val="A4A3A4"/>
          </p15:clr>
        </p15:guide>
        <p15:guide id="43" orient="horz" pos="1392">
          <p15:clr>
            <a:srgbClr val="A4A3A4"/>
          </p15:clr>
        </p15:guide>
        <p15:guide id="44" orient="horz" pos="2928">
          <p15:clr>
            <a:srgbClr val="A4A3A4"/>
          </p15:clr>
        </p15:guide>
        <p15:guide id="45" orient="horz" pos="1200">
          <p15:clr>
            <a:srgbClr val="F26B43"/>
          </p15:clr>
        </p15:guide>
        <p15:guide id="46" orient="horz" pos="3120">
          <p15:clr>
            <a:srgbClr val="A4A3A4"/>
          </p15:clr>
        </p15:guide>
        <p15:guide id="47" orient="horz" pos="1008">
          <p15:clr>
            <a:srgbClr val="A4A3A4"/>
          </p15:clr>
        </p15:guide>
        <p15:guide id="48" orient="horz" pos="3312">
          <p15:clr>
            <a:srgbClr val="A4A3A4"/>
          </p15:clr>
        </p15:guide>
        <p15:guide id="49" orient="horz" pos="816">
          <p15:clr>
            <a:srgbClr val="F26B43"/>
          </p15:clr>
        </p15:guide>
        <p15:guide id="50" orient="horz" pos="3504">
          <p15:clr>
            <a:srgbClr val="A4A3A4"/>
          </p15:clr>
        </p15:guide>
        <p15:guide id="51" orient="horz" pos="624">
          <p15:clr>
            <a:srgbClr val="A4A3A4"/>
          </p15:clr>
        </p15:guide>
        <p15:guide id="52" orient="horz" pos="3696">
          <p15:clr>
            <a:srgbClr val="F26B43"/>
          </p15:clr>
        </p15:guide>
        <p15:guide id="53" orient="horz" pos="432">
          <p15:clr>
            <a:srgbClr val="A4A3A4"/>
          </p15:clr>
        </p15:guide>
        <p15:guide id="54" orient="horz" pos="3888">
          <p15:clr>
            <a:srgbClr val="A4A3A4"/>
          </p15:clr>
        </p15:guide>
        <p15:guide id="55" orient="horz" pos="240">
          <p15:clr>
            <a:srgbClr val="F26B43"/>
          </p15:clr>
        </p15:guide>
        <p15:guide id="56" orient="horz" pos="4080">
          <p15:clr>
            <a:srgbClr val="A4A3A4"/>
          </p15:clr>
        </p15:guide>
        <p15:guide id="57" orient="horz" pos="48">
          <p15:clr>
            <a:srgbClr val="A4A3A4"/>
          </p15:clr>
        </p15:guide>
        <p15:guide id="58" orient="horz" pos="4272">
          <p15:clr>
            <a:srgbClr val="A4A3A4"/>
          </p15:clr>
        </p15:guide>
        <p15:guide id="59" orient="horz" pos="2352">
          <p15:clr>
            <a:srgbClr val="A4A3A4"/>
          </p15:clr>
        </p15:guide>
        <p15:guide id="60" orient="horz" pos="2160">
          <p15:clr>
            <a:srgbClr val="F26B43"/>
          </p15:clr>
        </p15:guide>
        <p15:guide id="61" pos="4727">
          <p15:clr>
            <a:srgbClr val="F26B43"/>
          </p15:clr>
        </p15:guide>
        <p15:guide id="62" pos="449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7" name="Rectangle 2"/>
          <p:cNvSpPr>
            <a:spLocks noGrp="1" noChangeArrowheads="1"/>
          </p:cNvSpPr>
          <p:nvPr>
            <p:ph type="title"/>
          </p:nvPr>
        </p:nvSpPr>
        <p:spPr>
          <a:xfrm>
            <a:off x="84158" y="5430"/>
            <a:ext cx="8889167" cy="609600"/>
          </a:xfrm>
        </p:spPr>
        <p:txBody>
          <a:bodyPr/>
          <a:lstStyle/>
          <a:p>
            <a:pPr algn="l"/>
            <a:r>
              <a:rPr lang="en-GB" altLang="en-US" sz="3200" b="1" spc="-150" dirty="0">
                <a:solidFill>
                  <a:schemeClr val="tx1"/>
                </a:solidFill>
              </a:rPr>
              <a:t>Problem Solving – Organisation Assessment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889285"/>
              </p:ext>
            </p:extLst>
          </p:nvPr>
        </p:nvGraphicFramePr>
        <p:xfrm>
          <a:off x="59665" y="655850"/>
          <a:ext cx="12067226" cy="58914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65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36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40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20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6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1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986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452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iteria at every level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iteria Objective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95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Starting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Learning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Implementing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Driving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>
                          <a:solidFill>
                            <a:schemeClr val="bg1"/>
                          </a:solidFill>
                          <a:effectLst/>
                        </a:rPr>
                        <a:t>Excelling</a:t>
                      </a:r>
                      <a:endParaRPr lang="en-US" sz="1400" b="1" i="0" u="none" strike="noStrike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93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effectLst/>
                        </a:rPr>
                        <a:t>Problem Solving Framework usage</a:t>
                      </a:r>
                    </a:p>
                    <a:p>
                      <a:pPr algn="ctr" fontAlgn="ctr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indent="0" algn="ctr" fontAlgn="ctr">
                        <a:buFontTx/>
                        <a:buNone/>
                      </a:pPr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 RAPID </a:t>
                      </a: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 PRACTICAL</a:t>
                      </a:r>
                    </a:p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 ADVANCED</a:t>
                      </a: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 dirty="0">
                          <a:effectLst/>
                        </a:rPr>
                        <a:t>Everyone Using Problem Solving </a:t>
                      </a:r>
                    </a:p>
                    <a:p>
                      <a:pPr algn="ctr" fontAlgn="ctr"/>
                      <a:endParaRPr lang="en-GB" sz="1200" b="1" u="none" strike="noStrike" dirty="0">
                        <a:effectLst/>
                      </a:endParaRPr>
                    </a:p>
                    <a:p>
                      <a:pPr algn="ctr" fontAlgn="ctr"/>
                      <a:r>
                        <a:rPr lang="en-GB" sz="1200" b="1" u="none" strike="noStrike" dirty="0">
                          <a:effectLst/>
                        </a:rPr>
                        <a:t>Right approach for right problem by the right level.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GB" sz="900" u="none" strike="noStrike" dirty="0">
                          <a:effectLst/>
                          <a:latin typeface="+mn-lt"/>
                        </a:rPr>
                        <a:t>Problem solving is generally conducted by management or qualified persons e.g. 6σ Projects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Typically this results in jumping to solutions and overburden on a few people to try and solve all the problems.</a:t>
                      </a: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Lack of use of structured methodology by others imply that smaller problems are not solved, and reoccurrence is frequent.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There is a general understanding of the problem framework and the different levels of Rapid, Practical and Advanced problem solving.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Recognition that problem solving should be inclusive not exclusive at all levels of the organisation.</a:t>
                      </a: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As such, starting to develop &amp; apply the different methods Some evidence is available, but the standard/level is varied.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Good understanding of the framework by the management team.</a:t>
                      </a: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Structured/formal training is planned and ongoing. 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Usage throughout the organisation is evident and to a consistently good standard. 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Clear results from using framework are evident and connected to the business priorities.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All employees understand the problem-solving framework and have been involved/exposed to at least one of the approaches.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Training and development of Rapid /Practical is predominantly done by the leaders using training and on the job coaching.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Problem solving is becoming a mind-set/habit and part of the cultur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blem escalation and support is seamless at every level</a:t>
                      </a:r>
                      <a:endParaRPr lang="en-US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br>
                        <a:rPr lang="en-US" sz="900" u="none" strike="noStrike" dirty="0">
                          <a:effectLst/>
                          <a:latin typeface="+mn-lt"/>
                        </a:rPr>
                      </a:br>
                      <a:r>
                        <a:rPr lang="en-GB" sz="900" u="none" strike="noStrike" dirty="0">
                          <a:effectLst/>
                          <a:latin typeface="+mn-lt"/>
                        </a:rPr>
                        <a:t>Whole organisation is engaged and involved in using the problem-solving framework. </a:t>
                      </a:r>
                    </a:p>
                    <a:p>
                      <a:pPr algn="ctr" fontAlgn="ctr"/>
                      <a:endParaRPr lang="en-GB" sz="900" u="none" strike="noStrike" dirty="0"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u="none" strike="noStrike" dirty="0">
                          <a:effectLst/>
                          <a:latin typeface="+mn-lt"/>
                        </a:rPr>
                        <a:t> Organisation is seen as a benchmark for others and is used to teach, coach and develop them.</a:t>
                      </a:r>
                    </a:p>
                    <a:p>
                      <a:pPr algn="ctr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33" marR="4233" marT="4233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9002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“Go See” and Ask</a:t>
                      </a:r>
                    </a:p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 See - 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training and development plan for Problem Solving and the current deployment status.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k -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see examples of RPS's, PPS’s (All Areas). Review content and quality level. 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GB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sk - </a:t>
                      </a: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out the teaching-coaching process behind it</a:t>
                      </a:r>
                    </a:p>
                    <a:p>
                      <a:pPr algn="l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k - 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ployees about Problem Solving and the Framework. Check understanding of 5 Why and Root Cause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k - 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ployees the last time they were involved in Problem Solving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k - 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out the problem, approach used.</a:t>
                      </a:r>
                    </a:p>
                    <a:p>
                      <a:pPr algn="l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k -  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 manager to show a previous PPS A3 (recent 6 months old max) and ask them to explain the RCA that has been carried out.</a:t>
                      </a:r>
                    </a:p>
                    <a:p>
                      <a:pPr algn="l" fontAlgn="ctr"/>
                      <a:r>
                        <a:rPr lang="en-GB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o See - </a:t>
                      </a:r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nd ask about the countermeasures for recent problems have been sustaine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4233" marB="0" anchor="ctr"/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of Points</a:t>
                      </a: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of Points</a:t>
                      </a: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of Points</a:t>
                      </a: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of Points</a:t>
                      </a: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oof Points</a:t>
                      </a:r>
                    </a:p>
                  </a:txBody>
                  <a:tcPr marL="4233" marR="4233" marT="4233" marB="0" anchor="ctr"/>
                </a:tc>
                <a:extLst>
                  <a:ext uri="{0D108BD9-81ED-4DB2-BD59-A6C34878D82A}">
                    <a16:rowId xmlns:a16="http://schemas.microsoft.com/office/drawing/2014/main" val="1850533402"/>
                  </a:ext>
                </a:extLst>
              </a:tr>
              <a:tr h="2410771">
                <a:tc gridSpan="2" vMerge="1">
                  <a:txBody>
                    <a:bodyPr/>
                    <a:lstStyle/>
                    <a:p>
                      <a:pPr algn="ctr" fontAlgn="ctr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/>
                </a:tc>
                <a:tc hMerge="1"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233" marR="4233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me Problem Solving done by a few selected experts </a:t>
                      </a:r>
                    </a:p>
                    <a:p>
                      <a:pPr algn="ctr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ur types of problems not understood by management</a:t>
                      </a:r>
                    </a:p>
                    <a:p>
                      <a:pPr algn="ctr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eaders Fire Fight problems themselves on daily basis</a:t>
                      </a:r>
                    </a:p>
                    <a:p>
                      <a:pPr algn="ctr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ining Focused on certification / belt achievement of some, rather than skill progression of all people</a:t>
                      </a:r>
                    </a:p>
                    <a:p>
                      <a:pPr algn="ctr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4233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ur Types of Problems understood by management</a:t>
                      </a:r>
                    </a:p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sic Fishbone, 5 Why, Root Cause Analysis (RCA) development for all employees ongoing.</a:t>
                      </a:r>
                    </a:p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rget audiences / requirements identified for all levels (Rapid, Practical and Advanced).</a:t>
                      </a:r>
                    </a:p>
                    <a:p>
                      <a:pPr algn="ctr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raining/development plan established and rolling.</a:t>
                      </a: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agement overcheck</a:t>
                      </a:r>
                    </a:p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4233" marB="0" anchor="ctr"/>
                </a:tc>
                <a:tc>
                  <a:txBody>
                    <a:bodyPr/>
                    <a:lstStyle/>
                    <a:p>
                      <a:pPr marL="171450" marR="0" lvl="0" indent="-17145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sage &amp; visualisation of the different methods is evident e.g. </a:t>
                      </a:r>
                    </a:p>
                    <a:p>
                      <a:pPr marL="171450" marR="0" lvl="0" indent="-171450" algn="l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Quadrant charts for Rapid</a:t>
                      </a:r>
                    </a:p>
                    <a:p>
                      <a:pPr marL="171450" marR="0" lvl="0" indent="-171450" algn="l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3’s  for Practical</a:t>
                      </a:r>
                    </a:p>
                    <a:p>
                      <a:pPr marL="171450" marR="0" lvl="0" indent="-171450" algn="l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s report outs for Advanced</a:t>
                      </a:r>
                    </a:p>
                    <a:p>
                      <a:pPr marL="171450" marR="0" lvl="0" indent="-171450" algn="l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&gt;95% employees have been involved in a Rapid Problem Solving activity</a:t>
                      </a:r>
                    </a:p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eaders as the Teachers of others, coaching and developing problem solving capability (training, coaching, mentoring, sign off).</a:t>
                      </a:r>
                    </a:p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423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rrect selection of the best method for different problems e.g.</a:t>
                      </a:r>
                    </a:p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- kaizen for real time issues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Rapid is driven on simple data collection</a:t>
                      </a:r>
                    </a:p>
                    <a:p>
                      <a:pPr marL="0" indent="0" algn="l" fontAlgn="ctr">
                        <a:buFontTx/>
                        <a:buNone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Practical used for operational / business </a:t>
                      </a:r>
                    </a:p>
                    <a:p>
                      <a:pPr algn="l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vanced used on technical / complex </a:t>
                      </a:r>
                    </a:p>
                    <a:p>
                      <a:pPr algn="l" fontAlgn="ctr"/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ers give guidance as part of their Management Routines.</a:t>
                      </a:r>
                    </a:p>
                    <a:p>
                      <a:pPr marL="0" marR="0" lvl="0" indent="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 &gt;90% of the staff including office areas are using an approach from the Framework.</a:t>
                      </a:r>
                    </a:p>
                  </a:txBody>
                  <a:tcPr marL="72000" marR="72000" marT="4233" marB="0" anchor="ctr"/>
                </a:tc>
                <a:tc>
                  <a:txBody>
                    <a:bodyPr/>
                    <a:lstStyle/>
                    <a:p>
                      <a:pPr marL="171450" marR="0" lvl="0" indent="-17145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adership  &amp; team members are leading by example by strong Go See approach to Problem Solving</a:t>
                      </a:r>
                    </a:p>
                    <a:p>
                      <a:pPr marL="171450" marR="0" lvl="0" indent="-17145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endParaRPr lang="en-GB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171450" marR="0" lvl="0" indent="-171450" algn="ctr" defTabSz="1038977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velopment of people in problem solving is a priority 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ctr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4233" marB="0" anchor="ctr"/>
                </a:tc>
                <a:extLst>
                  <a:ext uri="{0D108BD9-81ED-4DB2-BD59-A6C34878D82A}">
                    <a16:rowId xmlns:a16="http://schemas.microsoft.com/office/drawing/2014/main" val="21901849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2369822"/>
      </p:ext>
    </p:extLst>
  </p:cSld>
  <p:clrMapOvr>
    <a:masterClrMapping/>
  </p:clrMapOvr>
  <p:transition spd="med">
    <p:zoom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MACROSCOPYRIGHTREPRESENTATIVE" val="BCGMacrosCopyrightRepresentativ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LEA Red">
  <a:themeElements>
    <a:clrScheme name="LEA Red 1">
      <a:dk1>
        <a:srgbClr val="970000"/>
      </a:dk1>
      <a:lt1>
        <a:srgbClr val="FFFFFF"/>
      </a:lt1>
      <a:dk2>
        <a:srgbClr val="808080"/>
      </a:dk2>
      <a:lt2>
        <a:srgbClr val="FFFFFF"/>
      </a:lt2>
      <a:accent1>
        <a:srgbClr val="970000"/>
      </a:accent1>
      <a:accent2>
        <a:srgbClr val="009700"/>
      </a:accent2>
      <a:accent3>
        <a:srgbClr val="000000"/>
      </a:accent3>
      <a:accent4>
        <a:srgbClr val="FFEC26"/>
      </a:accent4>
      <a:accent5>
        <a:srgbClr val="808080"/>
      </a:accent5>
      <a:accent6>
        <a:srgbClr val="00FFFF"/>
      </a:accent6>
      <a:hlink>
        <a:srgbClr val="0000CC"/>
      </a:hlink>
      <a:folHlink>
        <a:srgbClr val="0000FF"/>
      </a:folHlink>
    </a:clrScheme>
    <a:fontScheme name="2_Lean Summit 0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sz="3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ahoma"/>
            <a:cs typeface="Tahom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lang="en-GB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dirty="0" err="1" smtClean="0">
            <a:solidFill>
              <a:schemeClr val="accent3"/>
            </a:solidFill>
            <a:latin typeface="Tahoma"/>
            <a:cs typeface="Tahoma"/>
          </a:defRPr>
        </a:defPPr>
      </a:lstStyle>
    </a:txDef>
  </a:objectDefaults>
  <a:extraClrSchemeLst>
    <a:extraClrScheme>
      <a:clrScheme name="2_Lean Summit 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3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00FF00"/>
        </a:accent1>
        <a:accent2>
          <a:srgbClr val="FF0000"/>
        </a:accent2>
        <a:accent3>
          <a:srgbClr val="FFFFFF"/>
        </a:accent3>
        <a:accent4>
          <a:srgbClr val="000082"/>
        </a:accent4>
        <a:accent5>
          <a:srgbClr val="AAFFAA"/>
        </a:accent5>
        <a:accent6>
          <a:srgbClr val="E70000"/>
        </a:accent6>
        <a:hlink>
          <a:srgbClr val="0000CC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14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FF0000"/>
        </a:accent1>
        <a:accent2>
          <a:srgbClr val="00FF00"/>
        </a:accent2>
        <a:accent3>
          <a:srgbClr val="FFFFFF"/>
        </a:accent3>
        <a:accent4>
          <a:srgbClr val="000082"/>
        </a:accent4>
        <a:accent5>
          <a:srgbClr val="FFAAAA"/>
        </a:accent5>
        <a:accent6>
          <a:srgbClr val="00E700"/>
        </a:accent6>
        <a:hlink>
          <a:srgbClr val="0000CC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LEA Red">
  <a:themeElements>
    <a:clrScheme name="LEA Red 1">
      <a:dk1>
        <a:srgbClr val="970000"/>
      </a:dk1>
      <a:lt1>
        <a:srgbClr val="FFFFFF"/>
      </a:lt1>
      <a:dk2>
        <a:srgbClr val="808080"/>
      </a:dk2>
      <a:lt2>
        <a:srgbClr val="FFFFFF"/>
      </a:lt2>
      <a:accent1>
        <a:srgbClr val="970000"/>
      </a:accent1>
      <a:accent2>
        <a:srgbClr val="009700"/>
      </a:accent2>
      <a:accent3>
        <a:srgbClr val="000000"/>
      </a:accent3>
      <a:accent4>
        <a:srgbClr val="FFEC26"/>
      </a:accent4>
      <a:accent5>
        <a:srgbClr val="808080"/>
      </a:accent5>
      <a:accent6>
        <a:srgbClr val="00FFFF"/>
      </a:accent6>
      <a:hlink>
        <a:srgbClr val="0000CC"/>
      </a:hlink>
      <a:folHlink>
        <a:srgbClr val="0000FF"/>
      </a:folHlink>
    </a:clrScheme>
    <a:fontScheme name="2_Lean Summit 0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sz="3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ahoma"/>
            <a:cs typeface="Tahom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lang="en-GB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dirty="0" err="1" smtClean="0">
            <a:solidFill>
              <a:schemeClr val="accent3"/>
            </a:solidFill>
            <a:latin typeface="Tahoma"/>
            <a:cs typeface="Tahoma"/>
          </a:defRPr>
        </a:defPPr>
      </a:lstStyle>
    </a:txDef>
  </a:objectDefaults>
  <a:extraClrSchemeLst>
    <a:extraClrScheme>
      <a:clrScheme name="2_Lean Summit 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3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00FF00"/>
        </a:accent1>
        <a:accent2>
          <a:srgbClr val="FF0000"/>
        </a:accent2>
        <a:accent3>
          <a:srgbClr val="FFFFFF"/>
        </a:accent3>
        <a:accent4>
          <a:srgbClr val="000082"/>
        </a:accent4>
        <a:accent5>
          <a:srgbClr val="AAFFAA"/>
        </a:accent5>
        <a:accent6>
          <a:srgbClr val="E70000"/>
        </a:accent6>
        <a:hlink>
          <a:srgbClr val="0000CC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14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FF0000"/>
        </a:accent1>
        <a:accent2>
          <a:srgbClr val="00FF00"/>
        </a:accent2>
        <a:accent3>
          <a:srgbClr val="FFFFFF"/>
        </a:accent3>
        <a:accent4>
          <a:srgbClr val="000082"/>
        </a:accent4>
        <a:accent5>
          <a:srgbClr val="FFAAAA"/>
        </a:accent5>
        <a:accent6>
          <a:srgbClr val="00E700"/>
        </a:accent6>
        <a:hlink>
          <a:srgbClr val="0000CC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LEA Red">
  <a:themeElements>
    <a:clrScheme name="LEA Red 1">
      <a:dk1>
        <a:srgbClr val="970000"/>
      </a:dk1>
      <a:lt1>
        <a:srgbClr val="FFFFFF"/>
      </a:lt1>
      <a:dk2>
        <a:srgbClr val="808080"/>
      </a:dk2>
      <a:lt2>
        <a:srgbClr val="FFFFFF"/>
      </a:lt2>
      <a:accent1>
        <a:srgbClr val="970000"/>
      </a:accent1>
      <a:accent2>
        <a:srgbClr val="009700"/>
      </a:accent2>
      <a:accent3>
        <a:srgbClr val="000000"/>
      </a:accent3>
      <a:accent4>
        <a:srgbClr val="FFEC26"/>
      </a:accent4>
      <a:accent5>
        <a:srgbClr val="808080"/>
      </a:accent5>
      <a:accent6>
        <a:srgbClr val="00FFFF"/>
      </a:accent6>
      <a:hlink>
        <a:srgbClr val="0000CC"/>
      </a:hlink>
      <a:folHlink>
        <a:srgbClr val="0000FF"/>
      </a:folHlink>
    </a:clrScheme>
    <a:fontScheme name="2_Lean Summit 0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sz="3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ahoma"/>
            <a:cs typeface="Tahom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lang="en-GB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dirty="0" err="1" smtClean="0">
            <a:solidFill>
              <a:schemeClr val="accent3"/>
            </a:solidFill>
            <a:latin typeface="Tahoma"/>
            <a:cs typeface="Tahoma"/>
          </a:defRPr>
        </a:defPPr>
      </a:lstStyle>
    </a:txDef>
  </a:objectDefaults>
  <a:extraClrSchemeLst>
    <a:extraClrScheme>
      <a:clrScheme name="2_Lean Summit 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3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00FF00"/>
        </a:accent1>
        <a:accent2>
          <a:srgbClr val="FF0000"/>
        </a:accent2>
        <a:accent3>
          <a:srgbClr val="FFFFFF"/>
        </a:accent3>
        <a:accent4>
          <a:srgbClr val="000082"/>
        </a:accent4>
        <a:accent5>
          <a:srgbClr val="AAFFAA"/>
        </a:accent5>
        <a:accent6>
          <a:srgbClr val="E70000"/>
        </a:accent6>
        <a:hlink>
          <a:srgbClr val="0000CC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14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FF0000"/>
        </a:accent1>
        <a:accent2>
          <a:srgbClr val="00FF00"/>
        </a:accent2>
        <a:accent3>
          <a:srgbClr val="FFFFFF"/>
        </a:accent3>
        <a:accent4>
          <a:srgbClr val="000082"/>
        </a:accent4>
        <a:accent5>
          <a:srgbClr val="FFAAAA"/>
        </a:accent5>
        <a:accent6>
          <a:srgbClr val="00E700"/>
        </a:accent6>
        <a:hlink>
          <a:srgbClr val="0000CC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LEA Red">
  <a:themeElements>
    <a:clrScheme name="LEA Red 1">
      <a:dk1>
        <a:srgbClr val="970000"/>
      </a:dk1>
      <a:lt1>
        <a:srgbClr val="FFFFFF"/>
      </a:lt1>
      <a:dk2>
        <a:srgbClr val="808080"/>
      </a:dk2>
      <a:lt2>
        <a:srgbClr val="FFFFFF"/>
      </a:lt2>
      <a:accent1>
        <a:srgbClr val="970000"/>
      </a:accent1>
      <a:accent2>
        <a:srgbClr val="009700"/>
      </a:accent2>
      <a:accent3>
        <a:srgbClr val="000000"/>
      </a:accent3>
      <a:accent4>
        <a:srgbClr val="FFEC26"/>
      </a:accent4>
      <a:accent5>
        <a:srgbClr val="808080"/>
      </a:accent5>
      <a:accent6>
        <a:srgbClr val="00FFFF"/>
      </a:accent6>
      <a:hlink>
        <a:srgbClr val="0000CC"/>
      </a:hlink>
      <a:folHlink>
        <a:srgbClr val="0000FF"/>
      </a:folHlink>
    </a:clrScheme>
    <a:fontScheme name="2_Lean Summit 0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sz="3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Tahoma"/>
            <a:cs typeface="Tahom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lang="en-GB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b="0" dirty="0" err="1" smtClean="0">
            <a:solidFill>
              <a:schemeClr val="accent3"/>
            </a:solidFill>
            <a:latin typeface="Tahoma"/>
            <a:cs typeface="Tahoma"/>
          </a:defRPr>
        </a:defPPr>
      </a:lstStyle>
    </a:txDef>
  </a:objectDefaults>
  <a:extraClrSchemeLst>
    <a:extraClrScheme>
      <a:clrScheme name="2_Lean Summit 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3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00FF00"/>
        </a:accent1>
        <a:accent2>
          <a:srgbClr val="FF0000"/>
        </a:accent2>
        <a:accent3>
          <a:srgbClr val="FFFFFF"/>
        </a:accent3>
        <a:accent4>
          <a:srgbClr val="000082"/>
        </a:accent4>
        <a:accent5>
          <a:srgbClr val="AAFFAA"/>
        </a:accent5>
        <a:accent6>
          <a:srgbClr val="E70000"/>
        </a:accent6>
        <a:hlink>
          <a:srgbClr val="0000CC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14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FF0000"/>
        </a:accent1>
        <a:accent2>
          <a:srgbClr val="00FF00"/>
        </a:accent2>
        <a:accent3>
          <a:srgbClr val="FFFFFF"/>
        </a:accent3>
        <a:accent4>
          <a:srgbClr val="000082"/>
        </a:accent4>
        <a:accent5>
          <a:srgbClr val="FFAAAA"/>
        </a:accent5>
        <a:accent6>
          <a:srgbClr val="00E700"/>
        </a:accent6>
        <a:hlink>
          <a:srgbClr val="0000CC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LEA 2011">
  <a:themeElements>
    <a:clrScheme name="LEA 2011 3">
      <a:dk1>
        <a:srgbClr val="000099"/>
      </a:dk1>
      <a:lt1>
        <a:srgbClr val="FFFFFF"/>
      </a:lt1>
      <a:dk2>
        <a:srgbClr val="000099"/>
      </a:dk2>
      <a:lt2>
        <a:srgbClr val="B2B2B2"/>
      </a:lt2>
      <a:accent1>
        <a:srgbClr val="FF0000"/>
      </a:accent1>
      <a:accent2>
        <a:srgbClr val="00FF00"/>
      </a:accent2>
      <a:accent3>
        <a:srgbClr val="FFFFFF"/>
      </a:accent3>
      <a:accent4>
        <a:srgbClr val="FFEC26"/>
      </a:accent4>
      <a:accent5>
        <a:srgbClr val="FF9900"/>
      </a:accent5>
      <a:accent6>
        <a:srgbClr val="00FFFF"/>
      </a:accent6>
      <a:hlink>
        <a:srgbClr val="0000CC"/>
      </a:hlink>
      <a:folHlink>
        <a:srgbClr val="FFFF00"/>
      </a:folHlink>
    </a:clrScheme>
    <a:fontScheme name="2_Lean Summit 05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lang="en-GB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28575" cap="flat" cmpd="sng" algn="ctr">
          <a:solidFill>
            <a:srgbClr val="000000"/>
          </a:solidFill>
          <a:prstDash val="solid"/>
          <a:round/>
          <a:headEnd type="none" w="sm" len="sm"/>
          <a:tailEnd type="triangle" w="lg" len="lg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FF3300"/>
          </a:buClr>
          <a:buSzTx/>
          <a:buFont typeface="Wingdings" pitchFamily="2" charset="2"/>
          <a:buNone/>
          <a:tabLst/>
          <a:defRPr kumimoji="0" lang="en-GB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  <a:cs typeface="Arial" charset="0"/>
          </a:defRPr>
        </a:defPPr>
      </a:lstStyle>
    </a:lnDef>
  </a:objectDefaults>
  <a:extraClrSchemeLst>
    <a:extraClrScheme>
      <a:clrScheme name="2_Lean Summit 0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Lean Summit 05 13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00FF00"/>
        </a:accent1>
        <a:accent2>
          <a:srgbClr val="FF0000"/>
        </a:accent2>
        <a:accent3>
          <a:srgbClr val="FFFFFF"/>
        </a:accent3>
        <a:accent4>
          <a:srgbClr val="000082"/>
        </a:accent4>
        <a:accent5>
          <a:srgbClr val="AAFFAA"/>
        </a:accent5>
        <a:accent6>
          <a:srgbClr val="E70000"/>
        </a:accent6>
        <a:hlink>
          <a:srgbClr val="0000CC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Lean Summit 05 14">
        <a:dk1>
          <a:srgbClr val="000099"/>
        </a:dk1>
        <a:lt1>
          <a:srgbClr val="FFFFFF"/>
        </a:lt1>
        <a:dk2>
          <a:srgbClr val="000099"/>
        </a:dk2>
        <a:lt2>
          <a:srgbClr val="B2B2B2"/>
        </a:lt2>
        <a:accent1>
          <a:srgbClr val="FF0000"/>
        </a:accent1>
        <a:accent2>
          <a:srgbClr val="00FF00"/>
        </a:accent2>
        <a:accent3>
          <a:srgbClr val="FFFFFF"/>
        </a:accent3>
        <a:accent4>
          <a:srgbClr val="000082"/>
        </a:accent4>
        <a:accent5>
          <a:srgbClr val="FFAAAA"/>
        </a:accent5>
        <a:accent6>
          <a:srgbClr val="00E700"/>
        </a:accent6>
        <a:hlink>
          <a:srgbClr val="0000CC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Aptiv Master Theme">
  <a:themeElements>
    <a:clrScheme name="Custom 21">
      <a:dk1>
        <a:srgbClr val="000000"/>
      </a:dk1>
      <a:lt1>
        <a:srgbClr val="FFFFFF"/>
      </a:lt1>
      <a:dk2>
        <a:srgbClr val="4C7B86"/>
      </a:dk2>
      <a:lt2>
        <a:srgbClr val="FFFFFF"/>
      </a:lt2>
      <a:accent1>
        <a:srgbClr val="F74018"/>
      </a:accent1>
      <a:accent2>
        <a:srgbClr val="B6D0CF"/>
      </a:accent2>
      <a:accent3>
        <a:srgbClr val="006B63"/>
      </a:accent3>
      <a:accent4>
        <a:srgbClr val="E5E1DA"/>
      </a:accent4>
      <a:accent5>
        <a:srgbClr val="383841"/>
      </a:accent5>
      <a:accent6>
        <a:srgbClr val="4D7B87"/>
      </a:accent6>
      <a:hlink>
        <a:srgbClr val="F74018"/>
      </a:hlink>
      <a:folHlink>
        <a:srgbClr val="F7401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" id="{FECF18CE-0602-4727-A43D-B297D2470888}" vid="{4AE29D13-4E56-4ACF-AFA6-A8063BF8EA12}"/>
    </a:ext>
  </a:extLst>
</a:theme>
</file>

<file path=ppt/theme/theme7.xml><?xml version="1.0" encoding="utf-8"?>
<a:theme xmlns:a="http://schemas.openxmlformats.org/drawingml/2006/main" name="1_Aptiv Master Theme">
  <a:themeElements>
    <a:clrScheme name="Custom 21">
      <a:dk1>
        <a:srgbClr val="000000"/>
      </a:dk1>
      <a:lt1>
        <a:srgbClr val="FFFFFF"/>
      </a:lt1>
      <a:dk2>
        <a:srgbClr val="4C7B86"/>
      </a:dk2>
      <a:lt2>
        <a:srgbClr val="FFFFFF"/>
      </a:lt2>
      <a:accent1>
        <a:srgbClr val="F74018"/>
      </a:accent1>
      <a:accent2>
        <a:srgbClr val="B6D0CF"/>
      </a:accent2>
      <a:accent3>
        <a:srgbClr val="006B63"/>
      </a:accent3>
      <a:accent4>
        <a:srgbClr val="E5E1DA"/>
      </a:accent4>
      <a:accent5>
        <a:srgbClr val="383841"/>
      </a:accent5>
      <a:accent6>
        <a:srgbClr val="4D7B87"/>
      </a:accent6>
      <a:hlink>
        <a:srgbClr val="F74018"/>
      </a:hlink>
      <a:folHlink>
        <a:srgbClr val="F7401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" id="{FECF18CE-0602-4727-A43D-B297D2470888}" vid="{4AE29D13-4E56-4ACF-AFA6-A8063BF8EA12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330</TotalTime>
  <Words>710</Words>
  <Application>Microsoft Office PowerPoint</Application>
  <PresentationFormat>Widescreen</PresentationFormat>
  <Paragraphs>9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.AppleSystemUIFont</vt:lpstr>
      <vt:lpstr>Arial</vt:lpstr>
      <vt:lpstr>Calibri</vt:lpstr>
      <vt:lpstr>Courier New</vt:lpstr>
      <vt:lpstr>Formular</vt:lpstr>
      <vt:lpstr>Tahoma</vt:lpstr>
      <vt:lpstr>Verdana</vt:lpstr>
      <vt:lpstr>Wingdings</vt:lpstr>
      <vt:lpstr>LEA Red</vt:lpstr>
      <vt:lpstr>1_LEA Red</vt:lpstr>
      <vt:lpstr>2_LEA Red</vt:lpstr>
      <vt:lpstr>3_LEA Red</vt:lpstr>
      <vt:lpstr>LEA 2011</vt:lpstr>
      <vt:lpstr>Aptiv Master Theme</vt:lpstr>
      <vt:lpstr>1_Aptiv Master Theme</vt:lpstr>
      <vt:lpstr>think-cell Slide</vt:lpstr>
      <vt:lpstr>Problem Solving – Organisation Assessme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n Enterprise Academy</dc:title>
  <dc:creator>darren walsh</dc:creator>
  <cp:lastModifiedBy>Peter</cp:lastModifiedBy>
  <cp:revision>283</cp:revision>
  <cp:lastPrinted>2019-08-05T21:06:11Z</cp:lastPrinted>
  <dcterms:created xsi:type="dcterms:W3CDTF">2018-05-18T07:52:45Z</dcterms:created>
  <dcterms:modified xsi:type="dcterms:W3CDTF">2020-09-28T13:22:35Z</dcterms:modified>
</cp:coreProperties>
</file>